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7"/>
    <p:sldMasterId id="2147483661" r:id="rId8"/>
  </p:sldMasterIdLst>
  <p:notesMasterIdLst>
    <p:notesMasterId r:id="rId19"/>
  </p:notesMasterIdLst>
  <p:sldIdLst>
    <p:sldId id="812" r:id="rId9"/>
    <p:sldId id="2142531905" r:id="rId10"/>
    <p:sldId id="256" r:id="rId11"/>
    <p:sldId id="2142531907" r:id="rId12"/>
    <p:sldId id="2142531908" r:id="rId13"/>
    <p:sldId id="2142531911" r:id="rId14"/>
    <p:sldId id="2142531909" r:id="rId15"/>
    <p:sldId id="2142531912" r:id="rId16"/>
    <p:sldId id="2142531910" r:id="rId17"/>
    <p:sldId id="920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893940-27DB-0AF9-E0B9-7F99576CF100}" v="6" dt="2021-12-06T08:20:12.347"/>
    <p1510:client id="{E34EC5DA-E31C-41BA-F176-4A4993BC7416}" v="17" dt="2021-12-06T08:04:17.1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80" d="100"/>
          <a:sy n="80" d="100"/>
        </p:scale>
        <p:origin x="78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microsoft.com/office/2016/11/relationships/changesInfo" Target="changesInfos/changesInfo1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plan, Dolev" userId="S::dolev.kaplan@philips.com::9a38388d-16b8-4c99-b528-487c02a8a96f" providerId="AD" clId="Web-{E34EC5DA-E31C-41BA-F176-4A4993BC7416}"/>
    <pc:docChg chg="modSld">
      <pc:chgData name="Kaplan, Dolev" userId="S::dolev.kaplan@philips.com::9a38388d-16b8-4c99-b528-487c02a8a96f" providerId="AD" clId="Web-{E34EC5DA-E31C-41BA-F176-4A4993BC7416}" dt="2021-12-06T08:04:14.590" v="15" actId="14100"/>
      <pc:docMkLst>
        <pc:docMk/>
      </pc:docMkLst>
      <pc:sldChg chg="addSp modSp">
        <pc:chgData name="Kaplan, Dolev" userId="S::dolev.kaplan@philips.com::9a38388d-16b8-4c99-b528-487c02a8a96f" providerId="AD" clId="Web-{E34EC5DA-E31C-41BA-F176-4A4993BC7416}" dt="2021-12-06T08:04:14.590" v="15" actId="14100"/>
        <pc:sldMkLst>
          <pc:docMk/>
          <pc:sldMk cId="2955424140" sldId="2142531909"/>
        </pc:sldMkLst>
        <pc:spChg chg="mod">
          <ac:chgData name="Kaplan, Dolev" userId="S::dolev.kaplan@philips.com::9a38388d-16b8-4c99-b528-487c02a8a96f" providerId="AD" clId="Web-{E34EC5DA-E31C-41BA-F176-4A4993BC7416}" dt="2021-12-06T08:03:34.556" v="10" actId="20577"/>
          <ac:spMkLst>
            <pc:docMk/>
            <pc:sldMk cId="2955424140" sldId="2142531909"/>
            <ac:spMk id="5" creationId="{4AC0CA18-9DFA-41B3-9727-3443A0FEAA17}"/>
          </ac:spMkLst>
        </pc:spChg>
        <pc:picChg chg="add mod">
          <ac:chgData name="Kaplan, Dolev" userId="S::dolev.kaplan@philips.com::9a38388d-16b8-4c99-b528-487c02a8a96f" providerId="AD" clId="Web-{E34EC5DA-E31C-41BA-F176-4A4993BC7416}" dt="2021-12-06T08:04:14.590" v="15" actId="14100"/>
          <ac:picMkLst>
            <pc:docMk/>
            <pc:sldMk cId="2955424140" sldId="2142531909"/>
            <ac:picMk id="7" creationId="{498AE85F-CC73-4DF7-85B4-5E4C32024F2A}"/>
          </ac:picMkLst>
        </pc:picChg>
      </pc:sldChg>
      <pc:sldChg chg="modSp">
        <pc:chgData name="Kaplan, Dolev" userId="S::dolev.kaplan@philips.com::9a38388d-16b8-4c99-b528-487c02a8a96f" providerId="AD" clId="Web-{E34EC5DA-E31C-41BA-F176-4A4993BC7416}" dt="2021-12-06T08:00:08.028" v="1" actId="20577"/>
        <pc:sldMkLst>
          <pc:docMk/>
          <pc:sldMk cId="2289701291" sldId="2142531912"/>
        </pc:sldMkLst>
        <pc:spChg chg="mod">
          <ac:chgData name="Kaplan, Dolev" userId="S::dolev.kaplan@philips.com::9a38388d-16b8-4c99-b528-487c02a8a96f" providerId="AD" clId="Web-{E34EC5DA-E31C-41BA-F176-4A4993BC7416}" dt="2021-12-06T08:00:08.028" v="1" actId="20577"/>
          <ac:spMkLst>
            <pc:docMk/>
            <pc:sldMk cId="2289701291" sldId="2142531912"/>
            <ac:spMk id="5" creationId="{4AC0CA18-9DFA-41B3-9727-3443A0FEAA17}"/>
          </ac:spMkLst>
        </pc:spChg>
      </pc:sldChg>
    </pc:docChg>
  </pc:docChgLst>
  <pc:docChgLst>
    <pc:chgData name="Kaplan, Dolev" userId="S::dolev.kaplan@philips.com::9a38388d-16b8-4c99-b528-487c02a8a96f" providerId="AD" clId="Web-{2E893940-27DB-0AF9-E0B9-7F99576CF100}"/>
    <pc:docChg chg="modSld">
      <pc:chgData name="Kaplan, Dolev" userId="S::dolev.kaplan@philips.com::9a38388d-16b8-4c99-b528-487c02a8a96f" providerId="AD" clId="Web-{2E893940-27DB-0AF9-E0B9-7F99576CF100}" dt="2021-12-06T08:20:12.347" v="5" actId="20577"/>
      <pc:docMkLst>
        <pc:docMk/>
      </pc:docMkLst>
      <pc:sldChg chg="modSp">
        <pc:chgData name="Kaplan, Dolev" userId="S::dolev.kaplan@philips.com::9a38388d-16b8-4c99-b528-487c02a8a96f" providerId="AD" clId="Web-{2E893940-27DB-0AF9-E0B9-7F99576CF100}" dt="2021-12-06T08:20:12.347" v="5" actId="20577"/>
        <pc:sldMkLst>
          <pc:docMk/>
          <pc:sldMk cId="2955424140" sldId="2142531909"/>
        </pc:sldMkLst>
        <pc:spChg chg="mod">
          <ac:chgData name="Kaplan, Dolev" userId="S::dolev.kaplan@philips.com::9a38388d-16b8-4c99-b528-487c02a8a96f" providerId="AD" clId="Web-{2E893940-27DB-0AF9-E0B9-7F99576CF100}" dt="2021-12-06T08:20:12.347" v="5" actId="20577"/>
          <ac:spMkLst>
            <pc:docMk/>
            <pc:sldMk cId="2955424140" sldId="2142531909"/>
            <ac:spMk id="5" creationId="{4AC0CA18-9DFA-41B3-9727-3443A0FEAA17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B326DE-3075-41AD-9740-19E9BD189CAE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6E9B50-3AB0-4EA7-92B2-D4BA6A3F87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9934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dirty="0">
                <a:solidFill>
                  <a:schemeClr val="bg2">
                    <a:lumMod val="50000"/>
                  </a:schemeClr>
                </a:solidFill>
              </a:rPr>
              <a:t>Extra points: submission on time, </a:t>
            </a:r>
            <a:r>
              <a:rPr lang="en-US" sz="1200" b="1" i="1" dirty="0">
                <a:solidFill>
                  <a:schemeClr val="bg2">
                    <a:lumMod val="50000"/>
                  </a:schemeClr>
                </a:solidFill>
              </a:rPr>
              <a:t>by Friday 14pm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6E9B50-3AB0-4EA7-92B2-D4BA6A3F873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0604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1.emf"/><Relationship Id="rId2" Type="http://schemas.openxmlformats.org/officeDocument/2006/relationships/tags" Target="../tags/tag4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1.emf"/><Relationship Id="rId2" Type="http://schemas.openxmlformats.org/officeDocument/2006/relationships/tags" Target="../tags/tag5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1.emf"/><Relationship Id="rId2" Type="http://schemas.openxmlformats.org/officeDocument/2006/relationships/tags" Target="../tags/tag5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1.emf"/><Relationship Id="rId2" Type="http://schemas.openxmlformats.org/officeDocument/2006/relationships/tags" Target="../tags/tag5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11.emf"/><Relationship Id="rId2" Type="http://schemas.openxmlformats.org/officeDocument/2006/relationships/tags" Target="../tags/tag5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12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1.emf"/><Relationship Id="rId2" Type="http://schemas.openxmlformats.org/officeDocument/2006/relationships/tags" Target="../tags/tag73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1.emf"/><Relationship Id="rId2" Type="http://schemas.openxmlformats.org/officeDocument/2006/relationships/tags" Target="../tags/tag76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8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1.emf"/><Relationship Id="rId2" Type="http://schemas.openxmlformats.org/officeDocument/2006/relationships/tags" Target="../tags/tag82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1.emf"/><Relationship Id="rId2" Type="http://schemas.openxmlformats.org/officeDocument/2006/relationships/tags" Target="../tags/tag85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5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1.emf"/><Relationship Id="rId2" Type="http://schemas.openxmlformats.org/officeDocument/2006/relationships/tags" Target="../tags/tag88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0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8AC1A8-0835-40C0-B829-2885309BAF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1562E0-9F56-4C07-8410-92DFCEDCF5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84BBE6-5063-47ED-BE89-B4217DAC1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79BDAF-83C7-4E36-85A6-E44FE8964DAF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454666-6011-4B36-88BB-A7C18BEDF8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6F61E1-7C63-4264-898E-2AF53549F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DE818D-0E68-4C04-B0E2-6CADB25724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2379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E3BF2C-8F40-462E-A91D-0F586D2269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905C33D-D777-4D98-8BE0-40565EBA66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EF6096-CBE0-4C90-91B4-165E2D998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79BDAF-83C7-4E36-85A6-E44FE8964DAF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E47658-53DD-4A79-B96B-00484362E3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F7F93D-2FCC-472E-B63A-E9BDE13B4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DE818D-0E68-4C04-B0E2-6CADB25724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7871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E02ECF5-BA78-4BF5-B808-7A692CB377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79C89F8-8E76-443D-A1A2-F6AC62D9C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F3457F-1F4D-46DE-92FB-3F1038814B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79BDAF-83C7-4E36-85A6-E44FE8964DAF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3C890-49DF-4231-BDCD-8698F0212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2B0699-F702-42A3-9C95-7F5491E2D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DE818D-0E68-4C04-B0E2-6CADB25724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4333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dark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070290"/>
              </p:ext>
            </p:ext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0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6A4EE19E-E41D-40A4-A09A-888FA8E2FB8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879" cy="6863992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</p:spTree>
    <p:extLst>
      <p:ext uri="{BB962C8B-B14F-4D97-AF65-F5344CB8AC3E}">
        <p14:creationId xmlns:p14="http://schemas.microsoft.com/office/powerpoint/2010/main" val="25370821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8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6A4EE19E-E41D-40A4-A09A-888FA8E2FB8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5879" cy="6863992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</p:spTree>
    <p:extLst>
      <p:ext uri="{BB962C8B-B14F-4D97-AF65-F5344CB8AC3E}">
        <p14:creationId xmlns:p14="http://schemas.microsoft.com/office/powerpoint/2010/main" val="19655978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gradFill>
          <a:gsLst>
            <a:gs pos="18000">
              <a:srgbClr val="0089C4"/>
            </a:gs>
            <a:gs pos="100000">
              <a:srgbClr val="629FD5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2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A4EE19E-E41D-40A4-A09A-888FA8E2FB8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5879" cy="6863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0924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aqua">
    <p:bg>
      <p:bgPr>
        <a:gradFill>
          <a:gsLst>
            <a:gs pos="0">
              <a:srgbClr val="156570"/>
            </a:gs>
            <a:gs pos="100000">
              <a:srgbClr val="1E9D8B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6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82075" cy="6856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7273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qua">
    <p:bg>
      <p:bgPr>
        <a:gradFill>
          <a:gsLst>
            <a:gs pos="18000">
              <a:srgbClr val="1E9D8B"/>
            </a:gs>
            <a:gs pos="100000">
              <a:srgbClr val="4FB5AE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0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82075" cy="6856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4392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 dark green">
    <p:bg>
      <p:bgPr>
        <a:gradFill>
          <a:gsLst>
            <a:gs pos="0">
              <a:srgbClr val="00693C"/>
            </a:gs>
            <a:gs pos="100000">
              <a:srgbClr val="5B8F22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4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891"/>
            <a:ext cx="12182073" cy="6856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4041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gradFill>
          <a:gsLst>
            <a:gs pos="100000">
              <a:srgbClr val="A4B507"/>
            </a:gs>
            <a:gs pos="18000">
              <a:srgbClr val="5B8F22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8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891"/>
            <a:ext cx="12182073" cy="6856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3963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pink">
    <p:bg>
      <p:bgPr>
        <a:gradFill>
          <a:gsLst>
            <a:gs pos="0">
              <a:srgbClr val="91004B"/>
            </a:gs>
            <a:gs pos="100000">
              <a:srgbClr val="EC4371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2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893"/>
            <a:ext cx="12182071" cy="6856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5754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E5B3DB-2FDE-4AC2-B40F-4B60CB96D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601C80-99F2-4696-91AF-89A1C789FA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183D62-7352-4AD2-9514-4B73F4DA94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79BDAF-83C7-4E36-85A6-E44FE8964DAF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A5096D-6A9F-4B01-A3BA-E054FA9C22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3AA303-2750-4ED8-B0E6-1A4B09C6A0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DE818D-0E68-4C04-B0E2-6CADB25724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1308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ink">
    <p:bg>
      <p:bgPr>
        <a:gradFill>
          <a:gsLst>
            <a:gs pos="100000">
              <a:srgbClr val="E59AAA"/>
            </a:gs>
            <a:gs pos="18000">
              <a:srgbClr val="EC4371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6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893"/>
            <a:ext cx="12182071" cy="6856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6115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purple">
    <p:bg>
      <p:bgPr>
        <a:gradFill>
          <a:gsLst>
            <a:gs pos="0">
              <a:srgbClr val="631D76"/>
            </a:gs>
            <a:gs pos="100000">
              <a:srgbClr val="7D0063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0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893"/>
            <a:ext cx="12182071" cy="6856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9881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urple">
    <p:bg>
      <p:bgPr>
        <a:gradFill>
          <a:gsLst>
            <a:gs pos="100000">
              <a:srgbClr val="A873A9"/>
            </a:gs>
            <a:gs pos="18000">
              <a:srgbClr val="7D0063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4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893"/>
            <a:ext cx="12182071" cy="6856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6057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orange">
    <p:bg>
      <p:bgPr>
        <a:gradFill>
          <a:gsLst>
            <a:gs pos="0">
              <a:srgbClr val="983222"/>
            </a:gs>
            <a:gs pos="100000">
              <a:srgbClr val="E98300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8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561"/>
            <a:ext cx="12182071" cy="685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945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range">
    <p:bg>
      <p:bgPr>
        <a:gradFill>
          <a:gsLst>
            <a:gs pos="15000">
              <a:srgbClr val="E98300"/>
            </a:gs>
            <a:gs pos="100000">
              <a:srgbClr val="EEAF00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2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561"/>
            <a:ext cx="12182071" cy="685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230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6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23484"/>
            <a:ext cx="10847919" cy="4614333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873105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Standard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0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23484"/>
            <a:ext cx="10847919" cy="461433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148912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qua Standard tex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23484"/>
            <a:ext cx="10847919" cy="461433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456315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Standard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8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23484"/>
            <a:ext cx="10847919" cy="461433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524294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Standard tex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2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23484"/>
            <a:ext cx="10847919" cy="461433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9683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FBC690-26B5-40F5-B0FE-E98E451960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560DE4-516B-4446-B846-2D611E8156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EDCD07-ACEF-4FE8-A15A-43AF902947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79BDAF-83C7-4E36-85A6-E44FE8964DAF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07FFF1-8F62-4A90-BEA3-11F4297E3B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DD3F66-6B99-4F12-8FE1-ABB2A18E5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DE818D-0E68-4C04-B0E2-6CADB25724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12684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Standard tex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6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23484"/>
            <a:ext cx="10847919" cy="461433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49664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Standard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0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23484"/>
            <a:ext cx="10847919" cy="461433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325522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588368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8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5083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qua 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2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307650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itle Onl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6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37305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0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684506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Title Onl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813843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8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445751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2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100" y="1623484"/>
            <a:ext cx="5088467" cy="46143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551" y="1623484"/>
            <a:ext cx="5088467" cy="46143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49552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207703-BD96-4771-8482-8D7301C35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96929B-3B29-4B31-B570-358B6736657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82453BD-C7B1-4607-BFAE-F3FF67C4AA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15F338-C95C-48EC-A4E9-847704FB6C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79BDAF-83C7-4E36-85A6-E44FE8964DAF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28C995-94F1-4470-B8B6-9228330EE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355E9E-2B4E-4325-82B9-E2854210D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DE818D-0E68-4C04-B0E2-6CADB25724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4223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wo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6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100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551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138134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qua Two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0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100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551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150326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Cont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100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551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177538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Two Cont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8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100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551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3180317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Two Cont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2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100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551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587301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Two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6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100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551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751047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BF4024-250B-4DF0-88FD-894C7422FA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0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BF4024-250B-4DF0-88FD-894C7422FA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240ED2-4EC0-4518-89F1-BBB2F52D74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656667" cy="6851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B71538-B430-4B25-AB35-31746FF03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7915" y="507999"/>
            <a:ext cx="5376069" cy="9313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42523A-C070-4FDB-86F7-7875D41CCDA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10264BD-5203-49E4-BC0F-3E4178D54B1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E744C28-1BF7-4E7F-A965-D914E61E58F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A17CC56-2B12-4A59-950F-3DCB9600CED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27915" y="1623483"/>
            <a:ext cx="6193104" cy="46143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417200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tical im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493118-70BE-49DA-9C6C-347B4D8A8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493118-70BE-49DA-9C6C-347B4D8A8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1B156F3-CF8C-4CDD-A03E-A24D93085D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535333" y="0"/>
            <a:ext cx="4656667" cy="6851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23F61C-4E8C-4FD1-B6ED-B2BBE09DE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9"/>
            <a:ext cx="6047433" cy="9313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615EEC5-0A06-4B5F-809B-FA1044DD41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31F658F-CD8F-4E6E-BDBA-CBEEDB56840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9D84B06-2D47-45F2-9684-460ADDAA2DA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A4E067B-840F-47D3-B48B-45596F55FF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3100" y="1623484"/>
            <a:ext cx="6047435" cy="46143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A2ED915-94F6-46CD-826E-92A745D55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7" cstate="screen">
              <a:alphaModFix amt="9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6693288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96B7A6-8E09-43BE-AD8E-4D7F6C40B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8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96B7A6-8E09-43BE-AD8E-4D7F6C40B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80C839-211D-4D2C-84AA-B3FFFB3A69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" y="1623483"/>
            <a:ext cx="7542507" cy="46143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41FA11C-355A-42A0-8ACC-631313FC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361182E-6B7A-4849-BC57-86A86014FF8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52FD04A-862C-4934-BC73-93BBD939EFD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BB82D07-B33E-49CB-AC52-C6579322403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4820880-CEF8-4B01-8B09-8EC1A7E2F09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29529" y="1623483"/>
            <a:ext cx="3691488" cy="46143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009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670157" y="1623484"/>
            <a:ext cx="7521844" cy="46143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250E1E-97E8-4411-B532-AD7CE1F30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AA891F-E92C-403A-BFCC-535E846FAA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82573C8-E590-4CEE-84C0-E3B118D75FA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D0A0AFB-ED51-4458-A2A2-DDC32D4086E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D241E64-67CD-4CA0-81D4-1083916DD1B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3100" y="1623483"/>
            <a:ext cx="3676757" cy="46143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000417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4131AF-8630-4093-80E2-FB13ADFF8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94F5D9-73EC-4AF2-870F-B7CF88F093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D43013-88F5-490F-A473-2FD880564F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82EA8D-557D-4127-ABCC-1DA51BABEF9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C856EDF-A2AF-4177-A843-B614EEB1C9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EB2D9F5-D4FA-438F-B808-80526A160C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79BDAF-83C7-4E36-85A6-E44FE8964DAF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82326E6-CA19-411C-9144-7BAA7107B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2F6E825-01A9-4B06-A0D6-11916CF527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DE818D-0E68-4C04-B0E2-6CADB25724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347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73100" y="1623485"/>
            <a:ext cx="5088467" cy="31285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3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432551" y="1623485"/>
            <a:ext cx="5088467" cy="31285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3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AB248D-57C3-42BE-B1A8-E7FC1A387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D1C86-B158-41D0-A938-63F01F33576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26D6C4-8F10-4092-B714-9020C41BB82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ADD015-4119-4EA1-B431-858F91EA5FD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BDAA8A-021C-4EC1-B26E-48889996AA3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3100" y="5004003"/>
            <a:ext cx="5088467" cy="12338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8F5822-A908-4933-8FD3-A83B190BF6E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32551" y="5004003"/>
            <a:ext cx="5088467" cy="12338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6090327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F063C06-AE5B-4F6F-9C37-FBE1184F3C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0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F063C06-AE5B-4F6F-9C37-FBE1184F3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DD051A0-039D-42D9-A58B-EA14A08412F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73101" y="1623484"/>
            <a:ext cx="10847919" cy="46143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7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E0F8291-C16C-4418-9B6D-28D21CA7A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8BB389B-3B07-4E50-B6D9-4F152C7670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86D7D42-1612-4F34-9E0C-4BB0F061DDF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40F500-5589-4B84-923C-8EFC4E3CAED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216352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65797D4-FD91-4A72-BFB7-8798A1097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B80F89-4AE5-4088-80FE-245322572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8167E6-9B12-4AF6-B568-50379A338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418233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89AD4B-CD2A-4E02-85A1-532A4A251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58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89AD4B-CD2A-4E02-85A1-532A4A251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97ACB5B-4858-4068-9665-FC3C21C1065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insert photo (16:9)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1F548E2F-0354-46E1-A24B-261AE84898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6" cstate="screen">
              <a:alphaModFix amt="9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8848565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89AD4B-CD2A-4E02-85A1-532A4A251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2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89AD4B-CD2A-4E02-85A1-532A4A251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462C7498-3AB5-4406-913C-71CCEC8866D0}"/>
              </a:ext>
            </a:extLst>
          </p:cNvPr>
          <p:cNvSpPr>
            <a:spLocks noGrp="1"/>
          </p:cNvSpPr>
          <p:nvPr>
            <p:ph type="media" sz="quarter" idx="2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insert video (16:9)</a:t>
            </a:r>
          </a:p>
        </p:txBody>
      </p:sp>
    </p:spTree>
    <p:extLst>
      <p:ext uri="{BB962C8B-B14F-4D97-AF65-F5344CB8AC3E}">
        <p14:creationId xmlns:p14="http://schemas.microsoft.com/office/powerpoint/2010/main" val="349753570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7298320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Click to add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380518A-9ACF-8844-AFD1-AB184AC65B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9914758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blue">
    <p:bg>
      <p:bgPr>
        <a:gradFill>
          <a:gsLst>
            <a:gs pos="18000">
              <a:srgbClr val="0089C4"/>
            </a:gs>
            <a:gs pos="0">
              <a:srgbClr val="0089C4"/>
            </a:gs>
            <a:gs pos="100000">
              <a:srgbClr val="629FD5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B4770E6-DFFC-4965-BCFF-C2F025ADA5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2081815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aqua">
    <p:bg>
      <p:bgPr>
        <a:gradFill>
          <a:gsLst>
            <a:gs pos="0">
              <a:srgbClr val="156570"/>
            </a:gs>
            <a:gs pos="100000">
              <a:srgbClr val="1E9D8B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463CA9F-55F7-443D-BDB2-CC212DC826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0560719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aqua">
    <p:bg>
      <p:bgPr>
        <a:gradFill>
          <a:gsLst>
            <a:gs pos="18000">
              <a:srgbClr val="1E9D8B"/>
            </a:gs>
            <a:gs pos="0">
              <a:srgbClr val="1E9D8B"/>
            </a:gs>
            <a:gs pos="100000">
              <a:srgbClr val="4FB5AE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58E946-AE1B-43D2-AC7C-8CB943F677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576513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134D1D-6EAD-4D72-9F33-5D513854EC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7A3A33-A931-4830-8B80-7C70036E6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79BDAF-83C7-4E36-85A6-E44FE8964DAF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EDFF49-B9E5-4894-B2A3-6238AC6CC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9266C2-5866-4A15-825F-2F26A2C2F7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DE818D-0E68-4C04-B0E2-6CADB25724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16501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green">
    <p:bg>
      <p:bgPr>
        <a:gradFill>
          <a:gsLst>
            <a:gs pos="0">
              <a:srgbClr val="00693C"/>
            </a:gs>
            <a:gs pos="100000">
              <a:srgbClr val="5B8F22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1F90D0-6CD9-4C1B-A4C2-46CE98B2AB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4404475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green">
    <p:bg>
      <p:bgPr>
        <a:gradFill>
          <a:gsLst>
            <a:gs pos="18000">
              <a:srgbClr val="5B8F22"/>
            </a:gs>
            <a:gs pos="0">
              <a:srgbClr val="5B8F22"/>
            </a:gs>
            <a:gs pos="100000">
              <a:srgbClr val="A4B507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F7AA786-DB75-447B-8332-AC6C6640A5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3121815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pink">
    <p:bg>
      <p:bgPr>
        <a:gradFill>
          <a:gsLst>
            <a:gs pos="0">
              <a:srgbClr val="91004B"/>
            </a:gs>
            <a:gs pos="100000">
              <a:srgbClr val="EC4371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DAE9EB-A548-4354-803D-A97A84FD56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7646072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pink">
    <p:bg>
      <p:bgPr>
        <a:gradFill>
          <a:gsLst>
            <a:gs pos="18000">
              <a:srgbClr val="EC4371"/>
            </a:gs>
            <a:gs pos="0">
              <a:srgbClr val="EC4371"/>
            </a:gs>
            <a:gs pos="100000">
              <a:srgbClr val="E59AAA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F8FE969-BFB6-40FA-BDFB-A70E2DA113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3282706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purple">
    <p:bg>
      <p:bgPr>
        <a:gradFill>
          <a:gsLst>
            <a:gs pos="0">
              <a:srgbClr val="631D76"/>
            </a:gs>
            <a:gs pos="100000">
              <a:srgbClr val="7D0063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84935F9-513A-4F2C-A7C3-7F6333C538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3456877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purple">
    <p:bg>
      <p:bgPr>
        <a:gradFill>
          <a:gsLst>
            <a:gs pos="18000">
              <a:srgbClr val="7D0063"/>
            </a:gs>
            <a:gs pos="0">
              <a:srgbClr val="7D0063"/>
            </a:gs>
            <a:gs pos="100000">
              <a:srgbClr val="A873A9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+mj-lt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B6D403-B8D3-4876-B7EF-4C11A84F19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7489868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orange">
    <p:bg>
      <p:bgPr>
        <a:gradFill>
          <a:gsLst>
            <a:gs pos="0">
              <a:srgbClr val="983222"/>
            </a:gs>
            <a:gs pos="100000">
              <a:srgbClr val="E98300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Click to add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0390B55-9157-4153-BA72-3B90C02644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8232825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orange">
    <p:bg>
      <p:bgPr>
        <a:gradFill>
          <a:gsLst>
            <a:gs pos="18000">
              <a:srgbClr val="E98300"/>
            </a:gs>
            <a:gs pos="0">
              <a:srgbClr val="E98300"/>
            </a:gs>
            <a:gs pos="100000">
              <a:srgbClr val="EEAF00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Click to add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0390B55-9157-4153-BA72-3B90C02644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3313536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1F58990-F6FE-47C5-BC21-2A45263505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8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1F58990-F6FE-47C5-BC21-2A4526350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0"/>
            <a:ext cx="4656667" cy="6858000"/>
          </a:xfrm>
          <a:prstGeom prst="rect">
            <a:avLst/>
          </a:prstGeom>
          <a:solidFill>
            <a:srgbClr val="004D79">
              <a:alpha val="89804"/>
            </a:srgb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423334" y="1625597"/>
            <a:ext cx="3801533" cy="425061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add text</a:t>
            </a:r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AB25F741-4DE1-41E1-8A68-93B346DCAE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6" cstate="screen">
              <a:alphaModFix amt="9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5342317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622BA5-BC34-4A58-9264-E2D05A0F24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42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2622BA5-BC34-4A58-9264-E2D05A0F2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535335" y="0"/>
            <a:ext cx="4656667" cy="6858000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7952002" y="1625600"/>
            <a:ext cx="3820897" cy="42513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add text</a:t>
            </a:r>
          </a:p>
          <a:p>
            <a:pPr lvl="0"/>
            <a:endParaRPr lang="en-US" noProof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DD6326-33BA-4174-807D-738A31A7001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4808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F058A9-9255-4837-B916-EE529A6092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79BDAF-83C7-4E36-85A6-E44FE8964DAF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E8C262B-EE3F-4CA5-BBD2-C78203E84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D36830-3BE2-410A-88BA-5D18194413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DE818D-0E68-4C04-B0E2-6CADB25724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73143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DA24CE-89CA-4008-85D4-D98FA9672B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6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DA24CE-89CA-4008-85D4-D98FA9672B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5245103"/>
            <a:ext cx="12192000" cy="1612900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673100" y="5624422"/>
            <a:ext cx="10847917" cy="86994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add text</a:t>
            </a:r>
          </a:p>
          <a:p>
            <a:pPr lvl="0"/>
            <a:endParaRPr lang="en-US" noProof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A5C95AE-299F-431B-AB66-08FC9F22E31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6" cstate="screen">
              <a:alphaModFix amt="9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1751506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small overla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BAA68A-08EA-496D-B665-88DDACBC07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90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BAA68A-08EA-496D-B665-88DDACBC07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3100" y="3239400"/>
            <a:ext cx="4680000" cy="2628000"/>
          </a:xfrm>
          <a:prstGeom prst="rect">
            <a:avLst/>
          </a:prstGeom>
          <a:solidFill>
            <a:srgbClr val="004D79">
              <a:alpha val="90000"/>
            </a:srgbClr>
          </a:solidFill>
        </p:spPr>
        <p:txBody>
          <a:bodyPr lIns="134955" tIns="134955" rIns="134955" bIns="134955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EFB6CD9-7626-429B-A638-CA2C3907F2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6" cstate="screen">
              <a:alphaModFix amt="9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4490919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small overla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6486757-F9A3-4F23-8717-59ECFD7A89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14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6486757-F9A3-4F23-8717-59ECFD7A89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41017" y="998220"/>
            <a:ext cx="4680000" cy="2628000"/>
          </a:xfrm>
          <a:prstGeom prst="rect">
            <a:avLst/>
          </a:prstGeom>
          <a:solidFill>
            <a:srgbClr val="004D79">
              <a:alpha val="90000"/>
            </a:srgbClr>
          </a:solidFill>
        </p:spPr>
        <p:txBody>
          <a:bodyPr lIns="134955" tIns="134955" rIns="134955" bIns="134955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B6A7725E-E42D-449C-A552-89E34F170F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6" cstate="screen">
              <a:alphaModFix amt="9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6773446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3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50CE0E-F179-458C-AEB1-36BDA9AF4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8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50CE0E-F179-458C-AEB1-36BDA9AF4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FE540E8-853F-49F5-AAA0-593FDDFCB4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4C2BE2D-951F-4D2E-A248-5E79BA206E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me period, data scenari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441B2E9-68F4-4A38-9D55-0A18643918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Reporting entit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058F3F5-669F-4BEE-968A-F64356A6CD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, unit measuremen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762C03-275A-4B1F-B234-561444D869D2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9E35EF-ADB2-4164-B32F-9BDCE33D215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25F407-F7B2-457F-BADC-5D7E348202A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C4A983AC-6F9B-471B-87E8-D4505A31FE4E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A0FB69-E866-4F1C-87F8-ADA6A511DB1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25942" y="1264357"/>
            <a:ext cx="11940119" cy="50348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779966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4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B418BD-1930-49DC-9A84-017861466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62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B418BD-1930-49DC-9A84-017861466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94897C-9089-4E46-A4DC-D9375AE2C9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Unit of measurement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25941" y="680640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eriod, data scenario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Reporting entity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P&amp;L</a:t>
            </a:r>
            <a:r>
              <a:rPr lang="en-US"/>
              <a:t> detail per business</a:t>
            </a:r>
          </a:p>
        </p:txBody>
      </p:sp>
      <p:sp>
        <p:nvSpPr>
          <p:cNvPr id="24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5C9809-688D-4100-A0FE-DB6EB41BC20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164E04-503E-48E0-8056-F4A846A8D60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E3274A-0D5B-4B5E-963A-4AD0C038490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073504F8-A36C-4A96-9962-DBD59D731B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7E0385-9465-469B-9CA7-ABB0EB4E48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25942" y="1264358"/>
            <a:ext cx="11940119" cy="50348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80109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orient="horz" pos="534">
          <p15:clr>
            <a:srgbClr val="FBAE40"/>
          </p15:clr>
        </p15:guide>
        <p15:guide id="3" pos="5697">
          <p15:clr>
            <a:srgbClr val="FBAE40"/>
          </p15:clr>
        </p15:guide>
        <p15:guide id="4" orient="horz" pos="393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C896B7-FACB-4D7B-A4F4-8CE484CBA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6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C896B7-FACB-4D7B-A4F4-8CE484CBA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ADAA302-4954-4070-845B-E3247AC801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913354F-6E59-49EF-93BE-EAF0DC89F6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7171BA3-E603-4FDD-B59F-EF9A1D5D5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941" y="680640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eriod, data scenario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D21293-C0ED-4019-808D-8F22DD7C37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Reporting entit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CDAF2D5-0296-4D0F-805B-B7D70457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P&amp;L</a:t>
            </a:r>
            <a:r>
              <a:rPr lang="en-US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0E6CF-65D4-44D5-BB75-32FC616FF2E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B535E-80AA-4B5F-B505-6AE4D82B205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779868-A62C-4FF8-88BB-692DFBB3AF3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8CA4B699-1B76-42B1-970D-8B5F927F5D43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0074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no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47BB81-5ED6-4620-B6AB-9F7CAE2CB6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10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47BB81-5ED6-4620-B6AB-9F7CAE2CB6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4C154A-EDEF-494B-95FD-05C9428083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2B18CF-CA9C-4A69-B7C8-A4C94FF29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6AD015-F4ED-4FC4-A52C-B985B1A9C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E7AFA2-6720-468E-9F40-2499D9FB7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9" name="Straight Connector 17">
            <a:extLst>
              <a:ext uri="{FF2B5EF4-FFF2-40B4-BE49-F238E27FC236}">
                <a16:creationId xmlns:a16="http://schemas.microsoft.com/office/drawing/2014/main" id="{50CCBDD5-A078-4F63-AC4E-A4BB95B75007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0885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73966E-CFE3-49CC-B52A-C5B637544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34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73966E-CFE3-49CC-B52A-C5B637544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FC3CDD-A9EE-4A29-BDB5-DDD9F2931D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BB6E0D-3F39-440A-BD9D-79E5F24876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5E28750-0E4B-4D33-9132-AD81766D92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941" y="680640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eriod, data scenario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C5D1072-8A57-4985-9114-7AB80099D9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Reporting entity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22D0EE4-A772-43CA-87B6-4AAA26C168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P&amp;L</a:t>
            </a:r>
            <a:r>
              <a:rPr lang="en-US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82124D-0640-4AE6-AECC-F4880DA1C39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1E07C9-1AA8-427A-8D3F-F90DA800C51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797C04-425D-49F7-8B2B-D4A178C161E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F4A6D036-B440-4848-AD09-10D95A6851EB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98D6D76-355E-455E-9573-01D135D9D92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473815" y="1264358"/>
            <a:ext cx="3592245" cy="50348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81296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039C25-38EE-4409-8846-AD3780FDA7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8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039C25-38EE-4409-8846-AD3780FDA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31B7F0-8291-45AD-B310-18C6F32C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66FA14-A13E-4C88-AA9E-2E47483D50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Unit of measuremen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98432D-6F74-40F0-A171-A0B5FD017F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941" y="680640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eriod, data scenario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1023FC6-6139-470D-844E-BC0D615613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Reporting entity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2569437-C2DB-4F3A-9508-BB720F4BFE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P&amp;L</a:t>
            </a:r>
            <a:r>
              <a:rPr lang="en-US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7D807E-C4CE-4AA4-8ED9-448491339E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38CB85-32FF-48FD-9896-C7B7E8F6EDB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80397-EA1F-41BE-8CB8-EE87F91FA06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C539D5CE-18F8-4235-A29E-31342295EE0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6F1E93-15E1-4055-8C44-6E1B52D56A8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25941" y="4704080"/>
            <a:ext cx="5089496" cy="15951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7292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7471" y="2447784"/>
            <a:ext cx="1526003" cy="19437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239968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195B51-074A-4868-BB2B-2C121C604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A5F7DA-6A4F-44FD-B1CA-A0DA91543E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CBF2D3-544C-4589-AC97-1FD6D4AE09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83FD53-C352-4DD0-99EA-5360A76E55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79BDAF-83C7-4E36-85A6-E44FE8964DAF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3BFB5C-6BED-4F5A-8E1B-8783C683D1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B38C14-7031-4A57-8836-EDAAAEECAC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DE818D-0E68-4C04-B0E2-6CADB25724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00518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43339" y="6237312"/>
            <a:ext cx="11905323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41" tIns="54420" rIns="108841" bIns="54420" rtlCol="0" anchor="ctr"/>
          <a:lstStyle/>
          <a:p>
            <a:pPr algn="ctr"/>
            <a:endParaRPr lang="en-US" sz="2400"/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D2D99289-1788-4094-95D8-16BE8E42F8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7471" y="2447783"/>
            <a:ext cx="1526003" cy="1939933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4044582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y light aqua - content">
    <p:bg>
      <p:bgPr>
        <a:solidFill>
          <a:srgbClr val="CAE3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2681" y="516497"/>
            <a:ext cx="10084059" cy="125829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3867" b="0" i="0">
                <a:solidFill>
                  <a:srgbClr val="003478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70985" y="2083444"/>
            <a:ext cx="10839448" cy="4128973"/>
          </a:xfrm>
          <a:prstGeom prst="rect">
            <a:avLst/>
          </a:prstGeom>
        </p:spPr>
        <p:txBody>
          <a:bodyPr lIns="0" rIns="0" numCol="1" spcCol="180000"/>
          <a:lstStyle>
            <a:lvl1pPr marL="188986" indent="-188986">
              <a:lnSpc>
                <a:spcPct val="90000"/>
              </a:lnSpc>
              <a:spcBef>
                <a:spcPts val="1600"/>
              </a:spcBef>
              <a:buFont typeface="Arial" charset="0"/>
              <a:buChar char="•"/>
              <a:defRPr sz="1467" b="0" i="0">
                <a:solidFill>
                  <a:srgbClr val="003478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6436051" y="-1558724"/>
            <a:ext cx="1219200" cy="1219200"/>
          </a:xfrm>
          <a:prstGeom prst="rect">
            <a:avLst/>
          </a:prstGeom>
        </p:spPr>
        <p:txBody>
          <a:bodyPr vert="horz" wrap="square" lIns="0" tIns="0" rIns="0" bIns="0" spcCol="385658" rtlCol="0">
            <a:noAutofit/>
          </a:bodyPr>
          <a:lstStyle/>
          <a:p>
            <a:pPr defTabSz="1218946"/>
            <a:endParaRPr lang="en-US" sz="2400">
              <a:solidFill>
                <a:srgbClr val="FFFFFF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38281" y="289983"/>
            <a:ext cx="480619" cy="6138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90485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507999"/>
            <a:ext cx="10847917" cy="9313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12190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12190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73100" y="1623486"/>
            <a:ext cx="10847917" cy="4614333"/>
          </a:xfrm>
          <a:prstGeom prst="rect">
            <a:avLst/>
          </a:prstGeom>
        </p:spPr>
        <p:txBody>
          <a:bodyPr lIns="0" tIns="0" rIns="0" bIns="0" spcCol="385658"/>
          <a:lstStyle>
            <a:lvl1pPr marL="215923" indent="-215923">
              <a:lnSpc>
                <a:spcPts val="2160"/>
              </a:lnSpc>
              <a:spcBef>
                <a:spcPts val="0"/>
              </a:spcBef>
              <a:defRPr sz="1733"/>
            </a:lvl1pPr>
            <a:lvl2pPr marL="431847" indent="-179936">
              <a:lnSpc>
                <a:spcPts val="216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1600"/>
            </a:lvl2pPr>
            <a:lvl3pPr marL="575794" indent="-143948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/>
            </a:lvl3pPr>
            <a:lvl4pPr marL="791718" indent="-214249">
              <a:lnSpc>
                <a:spcPts val="216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1333"/>
            </a:lvl4pPr>
            <a:lvl5pPr marL="935665" indent="-143948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/>
            </a:lvl5pPr>
            <a:lvl6pPr marL="1542595" indent="-272097">
              <a:spcBef>
                <a:spcPts val="0"/>
              </a:spcBef>
              <a:buFont typeface="Calibri" panose="020F0502020204030204" pitchFamily="34" charset="0"/>
              <a:buChar char="─"/>
              <a:defRPr sz="2133"/>
            </a:lvl6pPr>
            <a:lvl7pPr marL="1799692" indent="-257099">
              <a:spcBef>
                <a:spcPts val="0"/>
              </a:spcBef>
              <a:buFont typeface="Calibri" panose="020F0502020204030204" pitchFamily="34" charset="0"/>
              <a:buChar char="─"/>
              <a:defRPr sz="2133"/>
            </a:lvl7pPr>
            <a:lvl8pPr marL="2056793" indent="-257099">
              <a:spcBef>
                <a:spcPts val="0"/>
              </a:spcBef>
              <a:buFont typeface="Calibri" panose="020F0502020204030204" pitchFamily="34" charset="0"/>
              <a:buChar char="─"/>
              <a:defRPr sz="2133"/>
            </a:lvl8pPr>
            <a:lvl9pPr marL="2313891" indent="-257099">
              <a:spcBef>
                <a:spcPts val="0"/>
              </a:spcBef>
              <a:buFont typeface="Calibri" panose="020F0502020204030204" pitchFamily="34" charset="0"/>
              <a:buChar char="─"/>
              <a:defRPr sz="2133"/>
            </a:lvl9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242826" y="6464933"/>
            <a:ext cx="266631" cy="200267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1200" smtClean="0">
                <a:solidFill>
                  <a:srgbClr val="000000"/>
                </a:solidFill>
                <a:latin typeface="Calibri"/>
              </a:defRPr>
            </a:lvl1pPr>
          </a:lstStyle>
          <a:p>
            <a:fld id="{793332C0-45F3-49F7-8962-3AD7701CB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4" name="Date Placeholder 1"/>
          <p:cNvSpPr>
            <a:spLocks noGrp="1"/>
          </p:cNvSpPr>
          <p:nvPr>
            <p:ph type="dt" sz="half" idx="2"/>
          </p:nvPr>
        </p:nvSpPr>
        <p:spPr>
          <a:xfrm>
            <a:off x="673101" y="6512606"/>
            <a:ext cx="958356" cy="143967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933" smtClean="0">
                <a:solidFill>
                  <a:srgbClr val="000000"/>
                </a:solidFill>
                <a:latin typeface="Calibri"/>
              </a:defRPr>
            </a:lvl1pPr>
          </a:lstStyle>
          <a:p>
            <a:endParaRPr lang="en-US" dirty="0"/>
          </a:p>
        </p:txBody>
      </p:sp>
      <p:sp>
        <p:nvSpPr>
          <p:cNvPr id="6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597425" y="6512606"/>
            <a:ext cx="5213535" cy="143967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933">
                <a:solidFill>
                  <a:srgbClr val="000000"/>
                </a:solidFill>
                <a:latin typeface="Calibri"/>
              </a:defRPr>
            </a:lvl1pPr>
          </a:lstStyle>
          <a:p>
            <a:r>
              <a:rPr lang="en-US" dirty="0"/>
              <a:t>Corporate HR</a:t>
            </a:r>
          </a:p>
        </p:txBody>
      </p:sp>
    </p:spTree>
    <p:extLst>
      <p:ext uri="{BB962C8B-B14F-4D97-AF65-F5344CB8AC3E}">
        <p14:creationId xmlns:p14="http://schemas.microsoft.com/office/powerpoint/2010/main" val="3426473532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EB3535-FD7F-4D1C-BBEE-370EB9142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A638494-1A33-4574-B36A-8FAAFBC924A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E20335-E195-4A0B-B965-01A3164DE3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D5F5EB-5751-41B8-827D-43DE1CEE98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79BDAF-83C7-4E36-85A6-E44FE8964DAF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B2D902-34BB-43A6-BE25-A70FCA715C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A12F07-3A72-40D2-B580-A8B88C8F93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DE818D-0E68-4C04-B0E2-6CADB25724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5880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33.xml"/><Relationship Id="rId42" Type="http://schemas.openxmlformats.org/officeDocument/2006/relationships/slideLayout" Target="../slideLayouts/slideLayout54.xml"/><Relationship Id="rId47" Type="http://schemas.openxmlformats.org/officeDocument/2006/relationships/slideLayout" Target="../slideLayouts/slideLayout59.xml"/><Relationship Id="rId63" Type="http://schemas.openxmlformats.org/officeDocument/2006/relationships/slideLayout" Target="../slideLayouts/slideLayout75.xml"/><Relationship Id="rId68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slideLayout" Target="../slideLayouts/slideLayout57.xml"/><Relationship Id="rId53" Type="http://schemas.openxmlformats.org/officeDocument/2006/relationships/slideLayout" Target="../slideLayouts/slideLayout65.xml"/><Relationship Id="rId58" Type="http://schemas.openxmlformats.org/officeDocument/2006/relationships/slideLayout" Target="../slideLayouts/slideLayout70.xml"/><Relationship Id="rId66" Type="http://schemas.openxmlformats.org/officeDocument/2006/relationships/slideLayout" Target="../slideLayouts/slideLayout78.xml"/><Relationship Id="rId74" Type="http://schemas.openxmlformats.org/officeDocument/2006/relationships/tags" Target="../tags/tag3.xml"/><Relationship Id="rId5" Type="http://schemas.openxmlformats.org/officeDocument/2006/relationships/slideLayout" Target="../slideLayouts/slideLayout17.xml"/><Relationship Id="rId61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slideLayout" Target="../slideLayouts/slideLayout55.xml"/><Relationship Id="rId48" Type="http://schemas.openxmlformats.org/officeDocument/2006/relationships/slideLayout" Target="../slideLayouts/slideLayout60.xml"/><Relationship Id="rId56" Type="http://schemas.openxmlformats.org/officeDocument/2006/relationships/slideLayout" Target="../slideLayouts/slideLayout68.xml"/><Relationship Id="rId64" Type="http://schemas.openxmlformats.org/officeDocument/2006/relationships/slideLayout" Target="../slideLayouts/slideLayout76.xml"/><Relationship Id="rId69" Type="http://schemas.openxmlformats.org/officeDocument/2006/relationships/slideLayout" Target="../slideLayouts/slideLayout81.xml"/><Relationship Id="rId77" Type="http://schemas.openxmlformats.org/officeDocument/2006/relationships/image" Target="../media/image4.emf"/><Relationship Id="rId8" Type="http://schemas.openxmlformats.org/officeDocument/2006/relationships/slideLayout" Target="../slideLayouts/slideLayout20.xml"/><Relationship Id="rId51" Type="http://schemas.openxmlformats.org/officeDocument/2006/relationships/slideLayout" Target="../slideLayouts/slideLayout63.xml"/><Relationship Id="rId72" Type="http://schemas.openxmlformats.org/officeDocument/2006/relationships/vmlDrawing" Target="../drawings/vmlDrawing2.v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slideLayout" Target="../slideLayouts/slideLayout58.xml"/><Relationship Id="rId59" Type="http://schemas.openxmlformats.org/officeDocument/2006/relationships/slideLayout" Target="../slideLayouts/slideLayout71.xml"/><Relationship Id="rId67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53.xml"/><Relationship Id="rId54" Type="http://schemas.openxmlformats.org/officeDocument/2006/relationships/slideLayout" Target="../slideLayouts/slideLayout66.xml"/><Relationship Id="rId62" Type="http://schemas.openxmlformats.org/officeDocument/2006/relationships/slideLayout" Target="../slideLayouts/slideLayout74.xml"/><Relationship Id="rId70" Type="http://schemas.openxmlformats.org/officeDocument/2006/relationships/slideLayout" Target="../slideLayouts/slideLayout82.xml"/><Relationship Id="rId75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49" Type="http://schemas.openxmlformats.org/officeDocument/2006/relationships/slideLayout" Target="../slideLayouts/slideLayout61.xml"/><Relationship Id="rId57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22.xml"/><Relationship Id="rId31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56.xml"/><Relationship Id="rId52" Type="http://schemas.openxmlformats.org/officeDocument/2006/relationships/slideLayout" Target="../slideLayouts/slideLayout64.xml"/><Relationship Id="rId60" Type="http://schemas.openxmlformats.org/officeDocument/2006/relationships/slideLayout" Target="../slideLayouts/slideLayout72.xml"/><Relationship Id="rId65" Type="http://schemas.openxmlformats.org/officeDocument/2006/relationships/slideLayout" Target="../slideLayouts/slideLayout77.xml"/><Relationship Id="rId73" Type="http://schemas.openxmlformats.org/officeDocument/2006/relationships/tags" Target="../tags/tag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9" Type="http://schemas.openxmlformats.org/officeDocument/2006/relationships/slideLayout" Target="../slideLayouts/slideLayout51.xml"/><Relationship Id="rId34" Type="http://schemas.openxmlformats.org/officeDocument/2006/relationships/slideLayout" Target="../slideLayouts/slideLayout46.xml"/><Relationship Id="rId50" Type="http://schemas.openxmlformats.org/officeDocument/2006/relationships/slideLayout" Target="../slideLayouts/slideLayout62.xml"/><Relationship Id="rId55" Type="http://schemas.openxmlformats.org/officeDocument/2006/relationships/slideLayout" Target="../slideLayouts/slideLayout67.xml"/><Relationship Id="rId76" Type="http://schemas.openxmlformats.org/officeDocument/2006/relationships/image" Target="../media/image3.emf"/><Relationship Id="rId7" Type="http://schemas.openxmlformats.org/officeDocument/2006/relationships/slideLayout" Target="../slideLayouts/slideLayout19.xml"/><Relationship Id="rId71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29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D578F0A-7E64-4DB4-968A-4E19F52F26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2FE05D-0404-4B5B-98DE-93A451BA3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109F15-609E-4C19-AB0C-81575FEFF9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79BDAF-83C7-4E36-85A6-E44FE8964DAF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1DD07C-6A5A-4D78-8869-A007F6179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B8B43F-9683-43D8-8973-AA0F15318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DE818D-0E68-4C04-B0E2-6CADB25724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752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3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4"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11333B-FBA5-4875-A5DE-3B4281D761D5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E8F7B30E-EA8B-493C-86DB-F82608FA4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9"/>
            <a:ext cx="10031916" cy="93133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5D2E64-2649-4557-8200-E78DF2A57EFC}"/>
              </a:ext>
            </a:extLst>
          </p:cNvPr>
          <p:cNvPicPr>
            <a:picLocks noChangeAspect="1"/>
          </p:cNvPicPr>
          <p:nvPr userDrawn="1"/>
        </p:nvPicPr>
        <p:blipFill>
          <a:blip r:embed="rId7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09729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A08C5-5A5A-413C-BB47-80E1FBC063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3102" y="6512606"/>
            <a:ext cx="958356" cy="1439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33">
                <a:solidFill>
                  <a:srgbClr val="000000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97425" y="6512606"/>
            <a:ext cx="5213535" cy="1439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33">
                <a:solidFill>
                  <a:schemeClr val="tx1"/>
                </a:solidFill>
              </a:defRPr>
            </a:lvl1pPr>
          </a:lstStyle>
          <a:p>
            <a:endParaRPr lang="en-IN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827" y="6485813"/>
            <a:ext cx="266631" cy="2002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101" y="1623484"/>
            <a:ext cx="10847919" cy="4614333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39207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  <p:sldLayoutId id="2147483709" r:id="rId48"/>
    <p:sldLayoutId id="2147483710" r:id="rId49"/>
    <p:sldLayoutId id="2147483711" r:id="rId50"/>
    <p:sldLayoutId id="2147483712" r:id="rId51"/>
    <p:sldLayoutId id="2147483713" r:id="rId52"/>
    <p:sldLayoutId id="2147483714" r:id="rId53"/>
    <p:sldLayoutId id="2147483715" r:id="rId54"/>
    <p:sldLayoutId id="2147483716" r:id="rId55"/>
    <p:sldLayoutId id="2147483717" r:id="rId56"/>
    <p:sldLayoutId id="2147483718" r:id="rId57"/>
    <p:sldLayoutId id="2147483719" r:id="rId58"/>
    <p:sldLayoutId id="2147483720" r:id="rId59"/>
    <p:sldLayoutId id="2147483721" r:id="rId60"/>
    <p:sldLayoutId id="2147483722" r:id="rId61"/>
    <p:sldLayoutId id="2147483723" r:id="rId62"/>
    <p:sldLayoutId id="2147483724" r:id="rId63"/>
    <p:sldLayoutId id="2147483725" r:id="rId64"/>
    <p:sldLayoutId id="2147483726" r:id="rId65"/>
    <p:sldLayoutId id="2147483727" r:id="rId66"/>
    <p:sldLayoutId id="2147483728" r:id="rId67"/>
    <p:sldLayoutId id="2147483729" r:id="rId68"/>
    <p:sldLayoutId id="2147483730" r:id="rId69"/>
    <p:sldLayoutId id="2147483731" r:id="rId70"/>
  </p:sldLayoutIdLst>
  <p:hf hdr="0"/>
  <p:txStyles>
    <p:titleStyle>
      <a:lvl1pPr algn="l" defTabSz="1219139" rtl="0" eaLnBrk="1" latinLnBrk="0" hangingPunct="1">
        <a:lnSpc>
          <a:spcPct val="100000"/>
        </a:lnSpc>
        <a:spcBef>
          <a:spcPct val="0"/>
        </a:spcBef>
        <a:buNone/>
        <a:defRPr lang="en-US" sz="3200" kern="120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895" indent="-215895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867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426709" indent="-182875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73010" indent="-143930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US" sz="1333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92460" indent="-182875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333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935543" indent="-143930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IN" sz="1333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>
          <p15:clr>
            <a:srgbClr val="000000"/>
          </p15:clr>
        </p15:guide>
        <p15:guide id="2" pos="5443">
          <p15:clr>
            <a:srgbClr val="000000"/>
          </p15:clr>
        </p15:guide>
        <p15:guide id="3" pos="5057">
          <p15:clr>
            <a:srgbClr val="000000"/>
          </p15:clr>
        </p15:guide>
        <p15:guide id="4" orient="horz" pos="237">
          <p15:clr>
            <a:srgbClr val="000000"/>
          </p15:clr>
        </p15:guide>
        <p15:guide id="5" orient="horz" pos="690">
          <p15:clr>
            <a:srgbClr val="000000"/>
          </p15:clr>
        </p15:guide>
        <p15:guide id="6" orient="horz" pos="758">
          <p15:clr>
            <a:srgbClr val="000000"/>
          </p15:clr>
        </p15:guide>
        <p15:guide id="7" orient="horz" pos="2958">
          <p15:clr>
            <a:srgbClr val="000000"/>
          </p15:clr>
        </p15:guide>
        <p15:guide id="8" pos="3039">
          <p15:clr>
            <a:srgbClr val="000000"/>
          </p15:clr>
        </p15:guide>
        <p15:guide id="10" pos="2880">
          <p15:clr>
            <a:srgbClr val="000000"/>
          </p15:clr>
        </p15:guide>
        <p15:guide id="11" pos="272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customXml" Target="../../customXml/item6.xml"/><Relationship Id="rId1" Type="http://schemas.openxmlformats.org/officeDocument/2006/relationships/customXml" Target="../../customXml/item5.xml"/><Relationship Id="rId5" Type="http://schemas.openxmlformats.org/officeDocument/2006/relationships/image" Target="../media/image16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image" Target="../media/image19.png"/><Relationship Id="rId7" Type="http://schemas.openxmlformats.org/officeDocument/2006/relationships/image" Target="../media/image23.em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2.emf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hyperlink" Target="https://github.com/anuprshetty/UserInefficiencyTracker/blob/main/README.md" TargetMode="Externa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9EEDDD-C81B-4791-AAB1-344C153CDFD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46304" y="2110733"/>
            <a:ext cx="9326496" cy="1609320"/>
          </a:xfrm>
        </p:spPr>
        <p:txBody>
          <a:bodyPr/>
          <a:lstStyle/>
          <a:p>
            <a:pPr algn="ctr"/>
            <a:r>
              <a:rPr lang="en-US" sz="4267" dirty="0" err="1"/>
              <a:t>Cloudathon</a:t>
            </a:r>
            <a:r>
              <a:rPr lang="en-US" sz="4267" dirty="0"/>
              <a:t> Pitch Deck</a:t>
            </a:r>
          </a:p>
          <a:p>
            <a:pPr algn="ctr"/>
            <a:r>
              <a:rPr lang="en-US" sz="3200" i="1" dirty="0"/>
              <a:t>Demo Day</a:t>
            </a:r>
            <a:endParaRPr lang="en-IN" sz="4267" i="1" dirty="0"/>
          </a:p>
          <a:p>
            <a:pPr algn="ctr"/>
            <a:endParaRPr lang="en-IN" sz="4267" dirty="0"/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6C1475FE-D971-403F-9179-639B0A26E52E}"/>
              </a:ext>
            </a:extLst>
          </p:cNvPr>
          <p:cNvSpPr txBox="1">
            <a:spLocks/>
          </p:cNvSpPr>
          <p:nvPr/>
        </p:nvSpPr>
        <p:spPr>
          <a:xfrm>
            <a:off x="935211" y="4318205"/>
            <a:ext cx="5765800" cy="102679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i="1" dirty="0">
                <a:solidFill>
                  <a:schemeClr val="bg1"/>
                </a:solidFill>
              </a:rPr>
              <a:t>Process Hunter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i="1" dirty="0">
                <a:solidFill>
                  <a:schemeClr val="bg1"/>
                </a:solidFill>
              </a:rPr>
              <a:t>User Inefficiency on New Enterprise systems</a:t>
            </a:r>
          </a:p>
        </p:txBody>
      </p:sp>
    </p:spTree>
    <p:extLst>
      <p:ext uri="{BB962C8B-B14F-4D97-AF65-F5344CB8AC3E}">
        <p14:creationId xmlns:p14="http://schemas.microsoft.com/office/powerpoint/2010/main" val="19171734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27476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20CE48D-51E8-4795-8C27-602CFE07E1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10960" y="2683487"/>
            <a:ext cx="3701988" cy="3269288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F1DEA5-8862-44FC-A83F-7B2CF55D7B4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87B825-6F43-42CF-B3D6-01AB8E169CD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F804A5-31AD-4628-91EB-FD38D6EB92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163908-529D-4A49-892F-D37C4044DFD8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C0CA18-9DFA-41B3-9727-3443A0FEAA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2" y="1251344"/>
            <a:ext cx="10095513" cy="5234469"/>
          </a:xfrm>
        </p:spPr>
        <p:txBody>
          <a:bodyPr/>
          <a:lstStyle/>
          <a:p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US" sz="1800" i="1" dirty="0">
              <a:solidFill>
                <a:schemeClr val="bg2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sz="1800" i="1" dirty="0">
              <a:solidFill>
                <a:schemeClr val="bg2">
                  <a:lumMod val="50000"/>
                </a:schemeClr>
              </a:solidFill>
            </a:endParaRPr>
          </a:p>
          <a:p>
            <a:endParaRPr lang="en-US" sz="24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4F5A90-21F9-4C77-AC98-C95DBE63F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9"/>
            <a:ext cx="10031916" cy="576083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he Team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71AA8AD-2E03-4688-884F-AE9BFA72AA2B}"/>
              </a:ext>
            </a:extLst>
          </p:cNvPr>
          <p:cNvSpPr/>
          <p:nvPr/>
        </p:nvSpPr>
        <p:spPr>
          <a:xfrm>
            <a:off x="673103" y="1251345"/>
            <a:ext cx="10866696" cy="1768582"/>
          </a:xfrm>
          <a:prstGeom prst="rect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indent="0">
              <a:buNone/>
            </a:pPr>
            <a:r>
              <a:rPr lang="en-US" sz="42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cess hunting by Mining Gold in Log files</a:t>
            </a:r>
            <a:endParaRPr lang="en-US" sz="4200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392C55F-2990-4E5D-BAB6-F5D97D5E2F41}"/>
              </a:ext>
            </a:extLst>
          </p:cNvPr>
          <p:cNvSpPr/>
          <p:nvPr/>
        </p:nvSpPr>
        <p:spPr>
          <a:xfrm>
            <a:off x="673101" y="3187190"/>
            <a:ext cx="7137858" cy="2642536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3200" i="1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200" i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olev Kaplan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200" i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Deepa C K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200" i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nup Rathnakara Shetty</a:t>
            </a:r>
          </a:p>
          <a:p>
            <a:pPr marL="0" indent="0">
              <a:buNone/>
            </a:pPr>
            <a:endParaRPr lang="en-US" sz="4200" i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F00EE89-1EE0-4323-800A-B966BCDD84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5434" y="1811758"/>
            <a:ext cx="746825" cy="647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611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BA25B1-CBD7-47F9-8A48-D45345E68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roble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15F739-9312-471B-AE82-2A2031113E2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3544" y="4515444"/>
            <a:ext cx="199973" cy="15020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de-DE"/>
            </a:defPPr>
            <a:lvl1pPr marL="0" algn="l" defTabSz="914400" rtl="0" eaLnBrk="1" latinLnBrk="0" hangingPunct="1"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5163908-529D-4A49-892F-D37C4044DFD8}" type="slidenum">
              <a:rPr lang="en-US" smtClean="0"/>
              <a:pPr/>
              <a:t>3</a:t>
            </a:fld>
            <a:endParaRPr lang="en-IN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2B14FE5-7C2E-4E91-8B4B-29C5A092B587}"/>
              </a:ext>
            </a:extLst>
          </p:cNvPr>
          <p:cNvSpPr/>
          <p:nvPr/>
        </p:nvSpPr>
        <p:spPr>
          <a:xfrm>
            <a:off x="675527" y="1273194"/>
            <a:ext cx="7173167" cy="187455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9007">
              <a:defRPr/>
            </a:pPr>
            <a:endParaRPr lang="en-US" sz="1867" kern="0" dirty="0">
              <a:solidFill>
                <a:srgbClr val="FFFFFF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B73D39-5FAF-4214-8574-12191A877ABE}"/>
              </a:ext>
            </a:extLst>
          </p:cNvPr>
          <p:cNvSpPr/>
          <p:nvPr/>
        </p:nvSpPr>
        <p:spPr>
          <a:xfrm>
            <a:off x="8000298" y="1266097"/>
            <a:ext cx="3747297" cy="408689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9007">
              <a:defRPr/>
            </a:pPr>
            <a:endParaRPr lang="en-US" sz="1867" kern="0" dirty="0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52921D-B9D8-4890-834F-E354E8E57067}"/>
              </a:ext>
            </a:extLst>
          </p:cNvPr>
          <p:cNvSpPr/>
          <p:nvPr/>
        </p:nvSpPr>
        <p:spPr>
          <a:xfrm>
            <a:off x="675527" y="3278749"/>
            <a:ext cx="7173167" cy="207424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endParaRPr lang="en-US" sz="1867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104BD20-2E20-45B2-9046-357E298FFF71}"/>
              </a:ext>
            </a:extLst>
          </p:cNvPr>
          <p:cNvSpPr txBox="1">
            <a:spLocks/>
          </p:cNvSpPr>
          <p:nvPr/>
        </p:nvSpPr>
        <p:spPr>
          <a:xfrm>
            <a:off x="673102" y="1260197"/>
            <a:ext cx="6384429" cy="1819887"/>
          </a:xfrm>
          <a:prstGeom prst="rect">
            <a:avLst/>
          </a:prstGeom>
        </p:spPr>
        <p:txBody>
          <a:bodyPr lIns="144000" tIns="144000" rIns="144000" bIns="144000" numCol="1" spcCol="180000" anchor="ctr"/>
          <a:lstStyle>
            <a:lvl1pPr marL="0" indent="0" algn="l" defTabSz="914278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b="0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2850" indent="-285712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2847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59998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12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en-GB"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265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03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42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81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933" dirty="0">
                <a:latin typeface="Calibri" panose="020F0502020204030204" pitchFamily="34" charset="0"/>
                <a:ea typeface="Calibri" panose="020F0502020204030204" pitchFamily="34" charset="0"/>
              </a:rPr>
              <a:t>Large Enterprise systems</a:t>
            </a:r>
          </a:p>
          <a:p>
            <a:pPr>
              <a:defRPr/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nterprise systems implementations, like HDS platform, are often accompanied by changes in the business processes of the organizations in which they take place</a:t>
            </a:r>
            <a:r>
              <a:rPr lang="en-US" sz="1867" dirty="0">
                <a:latin typeface="+mn-lt"/>
                <a:ea typeface="Calibri" panose="020F0502020204030204" pitchFamily="34" charset="0"/>
              </a:rPr>
              <a:t>.</a:t>
            </a:r>
            <a:endParaRPr lang="en-US" sz="1867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852B630-08FE-4C85-9C4A-AE01A637B06E}"/>
              </a:ext>
            </a:extLst>
          </p:cNvPr>
          <p:cNvSpPr txBox="1">
            <a:spLocks/>
          </p:cNvSpPr>
          <p:nvPr/>
        </p:nvSpPr>
        <p:spPr>
          <a:xfrm>
            <a:off x="1976200" y="4447325"/>
            <a:ext cx="2441648" cy="1450323"/>
          </a:xfrm>
          <a:prstGeom prst="rect">
            <a:avLst/>
          </a:prstGeom>
        </p:spPr>
        <p:txBody>
          <a:bodyPr lIns="144000" tIns="144000" rIns="144000" bIns="144000" numCol="1" spcCol="180000" anchor="ctr"/>
          <a:lstStyle>
            <a:lvl1pPr marL="0" indent="0" algn="l" defTabSz="914278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b="0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2850" indent="-285712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2847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59998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12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en-GB"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265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03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42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81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sz="1867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06A656A-9837-4E25-ADA8-5C949F608DD8}"/>
              </a:ext>
            </a:extLst>
          </p:cNvPr>
          <p:cNvSpPr txBox="1">
            <a:spLocks/>
          </p:cNvSpPr>
          <p:nvPr/>
        </p:nvSpPr>
        <p:spPr>
          <a:xfrm>
            <a:off x="7506745" y="1580486"/>
            <a:ext cx="4240850" cy="2926371"/>
          </a:xfrm>
          <a:prstGeom prst="rect">
            <a:avLst/>
          </a:prstGeom>
        </p:spPr>
        <p:txBody>
          <a:bodyPr lIns="144000" tIns="144000" rIns="144000" bIns="144000" numCol="1" spcCol="180000" anchor="ctr"/>
          <a:lstStyle>
            <a:lvl1pPr marL="0" indent="0" algn="l" defTabSz="914278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b="0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2850" indent="-285712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2847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59998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12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en-GB"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265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03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42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81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ot all the changes are desirable. Newly operational business process requires many additional steps as “workarounds” of the system limitations and is hence performed in an inefficient manner. </a:t>
            </a:r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CEBCF715-AC31-4730-A28D-5D149A842974}"/>
              </a:ext>
            </a:extLst>
          </p:cNvPr>
          <p:cNvSpPr>
            <a:spLocks noEditPoints="1"/>
          </p:cNvSpPr>
          <p:nvPr/>
        </p:nvSpPr>
        <p:spPr bwMode="auto">
          <a:xfrm>
            <a:off x="6932515" y="1681905"/>
            <a:ext cx="737424" cy="737424"/>
          </a:xfrm>
          <a:custGeom>
            <a:avLst/>
            <a:gdLst>
              <a:gd name="T0" fmla="*/ 70 w 170"/>
              <a:gd name="T1" fmla="*/ 69 h 170"/>
              <a:gd name="T2" fmla="*/ 122 w 170"/>
              <a:gd name="T3" fmla="*/ 82 h 170"/>
              <a:gd name="T4" fmla="*/ 117 w 170"/>
              <a:gd name="T5" fmla="*/ 118 h 170"/>
              <a:gd name="T6" fmla="*/ 112 w 170"/>
              <a:gd name="T7" fmla="*/ 82 h 170"/>
              <a:gd name="T8" fmla="*/ 70 w 170"/>
              <a:gd name="T9" fmla="*/ 79 h 170"/>
              <a:gd name="T10" fmla="*/ 11 w 170"/>
              <a:gd name="T11" fmla="*/ 79 h 170"/>
              <a:gd name="T12" fmla="*/ 0 w 170"/>
              <a:gd name="T13" fmla="*/ 170 h 170"/>
              <a:gd name="T14" fmla="*/ 170 w 170"/>
              <a:gd name="T15" fmla="*/ 0 h 170"/>
              <a:gd name="T16" fmla="*/ 32 w 170"/>
              <a:gd name="T17" fmla="*/ 137 h 170"/>
              <a:gd name="T18" fmla="*/ 20 w 170"/>
              <a:gd name="T19" fmla="*/ 143 h 170"/>
              <a:gd name="T20" fmla="*/ 14 w 170"/>
              <a:gd name="T21" fmla="*/ 131 h 170"/>
              <a:gd name="T22" fmla="*/ 26 w 170"/>
              <a:gd name="T23" fmla="*/ 125 h 170"/>
              <a:gd name="T24" fmla="*/ 32 w 170"/>
              <a:gd name="T25" fmla="*/ 137 h 170"/>
              <a:gd name="T26" fmla="*/ 26 w 170"/>
              <a:gd name="T27" fmla="*/ 115 h 170"/>
              <a:gd name="T28" fmla="*/ 14 w 170"/>
              <a:gd name="T29" fmla="*/ 109 h 170"/>
              <a:gd name="T30" fmla="*/ 20 w 170"/>
              <a:gd name="T31" fmla="*/ 97 h 170"/>
              <a:gd name="T32" fmla="*/ 32 w 170"/>
              <a:gd name="T33" fmla="*/ 102 h 170"/>
              <a:gd name="T34" fmla="*/ 61 w 170"/>
              <a:gd name="T35" fmla="*/ 137 h 170"/>
              <a:gd name="T36" fmla="*/ 48 w 170"/>
              <a:gd name="T37" fmla="*/ 143 h 170"/>
              <a:gd name="T38" fmla="*/ 42 w 170"/>
              <a:gd name="T39" fmla="*/ 131 h 170"/>
              <a:gd name="T40" fmla="*/ 55 w 170"/>
              <a:gd name="T41" fmla="*/ 125 h 170"/>
              <a:gd name="T42" fmla="*/ 61 w 170"/>
              <a:gd name="T43" fmla="*/ 137 h 170"/>
              <a:gd name="T44" fmla="*/ 55 w 170"/>
              <a:gd name="T45" fmla="*/ 115 h 170"/>
              <a:gd name="T46" fmla="*/ 42 w 170"/>
              <a:gd name="T47" fmla="*/ 109 h 170"/>
              <a:gd name="T48" fmla="*/ 48 w 170"/>
              <a:gd name="T49" fmla="*/ 97 h 170"/>
              <a:gd name="T50" fmla="*/ 61 w 170"/>
              <a:gd name="T51" fmla="*/ 102 h 170"/>
              <a:gd name="T52" fmla="*/ 89 w 170"/>
              <a:gd name="T53" fmla="*/ 137 h 170"/>
              <a:gd name="T54" fmla="*/ 77 w 170"/>
              <a:gd name="T55" fmla="*/ 143 h 170"/>
              <a:gd name="T56" fmla="*/ 71 w 170"/>
              <a:gd name="T57" fmla="*/ 131 h 170"/>
              <a:gd name="T58" fmla="*/ 83 w 170"/>
              <a:gd name="T59" fmla="*/ 125 h 170"/>
              <a:gd name="T60" fmla="*/ 89 w 170"/>
              <a:gd name="T61" fmla="*/ 137 h 170"/>
              <a:gd name="T62" fmla="*/ 83 w 170"/>
              <a:gd name="T63" fmla="*/ 115 h 170"/>
              <a:gd name="T64" fmla="*/ 71 w 170"/>
              <a:gd name="T65" fmla="*/ 109 h 170"/>
              <a:gd name="T66" fmla="*/ 77 w 170"/>
              <a:gd name="T67" fmla="*/ 97 h 170"/>
              <a:gd name="T68" fmla="*/ 89 w 170"/>
              <a:gd name="T69" fmla="*/ 102 h 170"/>
              <a:gd name="T70" fmla="*/ 137 w 170"/>
              <a:gd name="T71" fmla="*/ 43 h 170"/>
              <a:gd name="T72" fmla="*/ 125 w 170"/>
              <a:gd name="T73" fmla="*/ 55 h 170"/>
              <a:gd name="T74" fmla="*/ 114 w 170"/>
              <a:gd name="T75" fmla="*/ 43 h 170"/>
              <a:gd name="T76" fmla="*/ 102 w 170"/>
              <a:gd name="T77" fmla="*/ 33 h 170"/>
              <a:gd name="T78" fmla="*/ 114 w 170"/>
              <a:gd name="T79" fmla="*/ 21 h 170"/>
              <a:gd name="T80" fmla="*/ 125 w 170"/>
              <a:gd name="T81" fmla="*/ 33 h 170"/>
              <a:gd name="T82" fmla="*/ 137 w 170"/>
              <a:gd name="T83" fmla="*/ 43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0" h="170">
                <a:moveTo>
                  <a:pt x="70" y="0"/>
                </a:moveTo>
                <a:cubicBezTo>
                  <a:pt x="70" y="69"/>
                  <a:pt x="70" y="69"/>
                  <a:pt x="70" y="69"/>
                </a:cubicBezTo>
                <a:cubicBezTo>
                  <a:pt x="109" y="69"/>
                  <a:pt x="109" y="69"/>
                  <a:pt x="109" y="69"/>
                </a:cubicBezTo>
                <a:cubicBezTo>
                  <a:pt x="116" y="69"/>
                  <a:pt x="122" y="75"/>
                  <a:pt x="122" y="82"/>
                </a:cubicBezTo>
                <a:cubicBezTo>
                  <a:pt x="122" y="113"/>
                  <a:pt x="122" y="113"/>
                  <a:pt x="122" y="113"/>
                </a:cubicBezTo>
                <a:cubicBezTo>
                  <a:pt x="122" y="115"/>
                  <a:pt x="120" y="118"/>
                  <a:pt x="117" y="118"/>
                </a:cubicBezTo>
                <a:cubicBezTo>
                  <a:pt x="114" y="118"/>
                  <a:pt x="112" y="115"/>
                  <a:pt x="112" y="113"/>
                </a:cubicBezTo>
                <a:cubicBezTo>
                  <a:pt x="112" y="82"/>
                  <a:pt x="112" y="82"/>
                  <a:pt x="112" y="82"/>
                </a:cubicBezTo>
                <a:cubicBezTo>
                  <a:pt x="112" y="80"/>
                  <a:pt x="111" y="79"/>
                  <a:pt x="109" y="79"/>
                </a:cubicBezTo>
                <a:cubicBezTo>
                  <a:pt x="70" y="79"/>
                  <a:pt x="70" y="79"/>
                  <a:pt x="70" y="79"/>
                </a:cubicBezTo>
                <a:cubicBezTo>
                  <a:pt x="70" y="79"/>
                  <a:pt x="70" y="79"/>
                  <a:pt x="70" y="79"/>
                </a:cubicBezTo>
                <a:cubicBezTo>
                  <a:pt x="11" y="79"/>
                  <a:pt x="11" y="79"/>
                  <a:pt x="11" y="79"/>
                </a:cubicBezTo>
                <a:cubicBezTo>
                  <a:pt x="5" y="79"/>
                  <a:pt x="0" y="85"/>
                  <a:pt x="0" y="91"/>
                </a:cubicBezTo>
                <a:cubicBezTo>
                  <a:pt x="0" y="170"/>
                  <a:pt x="0" y="170"/>
                  <a:pt x="0" y="170"/>
                </a:cubicBezTo>
                <a:cubicBezTo>
                  <a:pt x="170" y="170"/>
                  <a:pt x="170" y="170"/>
                  <a:pt x="170" y="170"/>
                </a:cubicBezTo>
                <a:cubicBezTo>
                  <a:pt x="170" y="0"/>
                  <a:pt x="170" y="0"/>
                  <a:pt x="170" y="0"/>
                </a:cubicBezTo>
                <a:lnTo>
                  <a:pt x="70" y="0"/>
                </a:lnTo>
                <a:close/>
                <a:moveTo>
                  <a:pt x="32" y="137"/>
                </a:moveTo>
                <a:cubicBezTo>
                  <a:pt x="32" y="140"/>
                  <a:pt x="30" y="143"/>
                  <a:pt x="26" y="143"/>
                </a:cubicBezTo>
                <a:cubicBezTo>
                  <a:pt x="20" y="143"/>
                  <a:pt x="20" y="143"/>
                  <a:pt x="20" y="143"/>
                </a:cubicBezTo>
                <a:cubicBezTo>
                  <a:pt x="17" y="143"/>
                  <a:pt x="14" y="140"/>
                  <a:pt x="14" y="137"/>
                </a:cubicBezTo>
                <a:cubicBezTo>
                  <a:pt x="14" y="131"/>
                  <a:pt x="14" y="131"/>
                  <a:pt x="14" y="131"/>
                </a:cubicBezTo>
                <a:cubicBezTo>
                  <a:pt x="14" y="127"/>
                  <a:pt x="17" y="125"/>
                  <a:pt x="20" y="125"/>
                </a:cubicBezTo>
                <a:cubicBezTo>
                  <a:pt x="26" y="125"/>
                  <a:pt x="26" y="125"/>
                  <a:pt x="26" y="125"/>
                </a:cubicBezTo>
                <a:cubicBezTo>
                  <a:pt x="30" y="125"/>
                  <a:pt x="32" y="127"/>
                  <a:pt x="32" y="131"/>
                </a:cubicBezTo>
                <a:lnTo>
                  <a:pt x="32" y="137"/>
                </a:lnTo>
                <a:close/>
                <a:moveTo>
                  <a:pt x="32" y="109"/>
                </a:moveTo>
                <a:cubicBezTo>
                  <a:pt x="32" y="112"/>
                  <a:pt x="30" y="115"/>
                  <a:pt x="26" y="115"/>
                </a:cubicBezTo>
                <a:cubicBezTo>
                  <a:pt x="20" y="115"/>
                  <a:pt x="20" y="115"/>
                  <a:pt x="20" y="115"/>
                </a:cubicBezTo>
                <a:cubicBezTo>
                  <a:pt x="17" y="115"/>
                  <a:pt x="14" y="112"/>
                  <a:pt x="14" y="109"/>
                </a:cubicBezTo>
                <a:cubicBezTo>
                  <a:pt x="14" y="102"/>
                  <a:pt x="14" y="102"/>
                  <a:pt x="14" y="102"/>
                </a:cubicBezTo>
                <a:cubicBezTo>
                  <a:pt x="14" y="99"/>
                  <a:pt x="17" y="97"/>
                  <a:pt x="20" y="97"/>
                </a:cubicBezTo>
                <a:cubicBezTo>
                  <a:pt x="26" y="97"/>
                  <a:pt x="26" y="97"/>
                  <a:pt x="26" y="97"/>
                </a:cubicBezTo>
                <a:cubicBezTo>
                  <a:pt x="30" y="97"/>
                  <a:pt x="32" y="99"/>
                  <a:pt x="32" y="102"/>
                </a:cubicBezTo>
                <a:lnTo>
                  <a:pt x="32" y="109"/>
                </a:lnTo>
                <a:close/>
                <a:moveTo>
                  <a:pt x="61" y="137"/>
                </a:moveTo>
                <a:cubicBezTo>
                  <a:pt x="61" y="140"/>
                  <a:pt x="58" y="143"/>
                  <a:pt x="55" y="143"/>
                </a:cubicBezTo>
                <a:cubicBezTo>
                  <a:pt x="48" y="143"/>
                  <a:pt x="48" y="143"/>
                  <a:pt x="48" y="143"/>
                </a:cubicBezTo>
                <a:cubicBezTo>
                  <a:pt x="45" y="143"/>
                  <a:pt x="42" y="140"/>
                  <a:pt x="42" y="137"/>
                </a:cubicBezTo>
                <a:cubicBezTo>
                  <a:pt x="42" y="131"/>
                  <a:pt x="42" y="131"/>
                  <a:pt x="42" y="131"/>
                </a:cubicBezTo>
                <a:cubicBezTo>
                  <a:pt x="42" y="127"/>
                  <a:pt x="45" y="125"/>
                  <a:pt x="48" y="125"/>
                </a:cubicBezTo>
                <a:cubicBezTo>
                  <a:pt x="55" y="125"/>
                  <a:pt x="55" y="125"/>
                  <a:pt x="55" y="125"/>
                </a:cubicBezTo>
                <a:cubicBezTo>
                  <a:pt x="58" y="125"/>
                  <a:pt x="61" y="127"/>
                  <a:pt x="61" y="131"/>
                </a:cubicBezTo>
                <a:lnTo>
                  <a:pt x="61" y="137"/>
                </a:lnTo>
                <a:close/>
                <a:moveTo>
                  <a:pt x="61" y="109"/>
                </a:moveTo>
                <a:cubicBezTo>
                  <a:pt x="61" y="112"/>
                  <a:pt x="58" y="115"/>
                  <a:pt x="55" y="115"/>
                </a:cubicBezTo>
                <a:cubicBezTo>
                  <a:pt x="48" y="115"/>
                  <a:pt x="48" y="115"/>
                  <a:pt x="48" y="115"/>
                </a:cubicBezTo>
                <a:cubicBezTo>
                  <a:pt x="45" y="115"/>
                  <a:pt x="42" y="112"/>
                  <a:pt x="42" y="109"/>
                </a:cubicBezTo>
                <a:cubicBezTo>
                  <a:pt x="42" y="102"/>
                  <a:pt x="42" y="102"/>
                  <a:pt x="42" y="102"/>
                </a:cubicBezTo>
                <a:cubicBezTo>
                  <a:pt x="42" y="99"/>
                  <a:pt x="45" y="97"/>
                  <a:pt x="48" y="97"/>
                </a:cubicBezTo>
                <a:cubicBezTo>
                  <a:pt x="55" y="97"/>
                  <a:pt x="55" y="97"/>
                  <a:pt x="55" y="97"/>
                </a:cubicBezTo>
                <a:cubicBezTo>
                  <a:pt x="58" y="97"/>
                  <a:pt x="61" y="99"/>
                  <a:pt x="61" y="102"/>
                </a:cubicBezTo>
                <a:lnTo>
                  <a:pt x="61" y="109"/>
                </a:lnTo>
                <a:close/>
                <a:moveTo>
                  <a:pt x="89" y="137"/>
                </a:moveTo>
                <a:cubicBezTo>
                  <a:pt x="89" y="140"/>
                  <a:pt x="86" y="143"/>
                  <a:pt x="83" y="143"/>
                </a:cubicBezTo>
                <a:cubicBezTo>
                  <a:pt x="77" y="143"/>
                  <a:pt x="77" y="143"/>
                  <a:pt x="77" y="143"/>
                </a:cubicBezTo>
                <a:cubicBezTo>
                  <a:pt x="73" y="143"/>
                  <a:pt x="71" y="140"/>
                  <a:pt x="71" y="137"/>
                </a:cubicBezTo>
                <a:cubicBezTo>
                  <a:pt x="71" y="131"/>
                  <a:pt x="71" y="131"/>
                  <a:pt x="71" y="131"/>
                </a:cubicBezTo>
                <a:cubicBezTo>
                  <a:pt x="71" y="127"/>
                  <a:pt x="73" y="125"/>
                  <a:pt x="77" y="125"/>
                </a:cubicBezTo>
                <a:cubicBezTo>
                  <a:pt x="83" y="125"/>
                  <a:pt x="83" y="125"/>
                  <a:pt x="83" y="125"/>
                </a:cubicBezTo>
                <a:cubicBezTo>
                  <a:pt x="86" y="125"/>
                  <a:pt x="89" y="127"/>
                  <a:pt x="89" y="131"/>
                </a:cubicBezTo>
                <a:lnTo>
                  <a:pt x="89" y="137"/>
                </a:lnTo>
                <a:close/>
                <a:moveTo>
                  <a:pt x="89" y="109"/>
                </a:moveTo>
                <a:cubicBezTo>
                  <a:pt x="89" y="112"/>
                  <a:pt x="86" y="115"/>
                  <a:pt x="83" y="115"/>
                </a:cubicBezTo>
                <a:cubicBezTo>
                  <a:pt x="77" y="115"/>
                  <a:pt x="77" y="115"/>
                  <a:pt x="77" y="115"/>
                </a:cubicBezTo>
                <a:cubicBezTo>
                  <a:pt x="73" y="115"/>
                  <a:pt x="71" y="112"/>
                  <a:pt x="71" y="109"/>
                </a:cubicBezTo>
                <a:cubicBezTo>
                  <a:pt x="71" y="102"/>
                  <a:pt x="71" y="102"/>
                  <a:pt x="71" y="102"/>
                </a:cubicBezTo>
                <a:cubicBezTo>
                  <a:pt x="71" y="99"/>
                  <a:pt x="73" y="97"/>
                  <a:pt x="77" y="97"/>
                </a:cubicBezTo>
                <a:cubicBezTo>
                  <a:pt x="83" y="97"/>
                  <a:pt x="83" y="97"/>
                  <a:pt x="83" y="97"/>
                </a:cubicBezTo>
                <a:cubicBezTo>
                  <a:pt x="86" y="97"/>
                  <a:pt x="89" y="99"/>
                  <a:pt x="89" y="102"/>
                </a:cubicBezTo>
                <a:lnTo>
                  <a:pt x="89" y="109"/>
                </a:lnTo>
                <a:close/>
                <a:moveTo>
                  <a:pt x="137" y="43"/>
                </a:moveTo>
                <a:cubicBezTo>
                  <a:pt x="125" y="43"/>
                  <a:pt x="125" y="43"/>
                  <a:pt x="125" y="43"/>
                </a:cubicBezTo>
                <a:cubicBezTo>
                  <a:pt x="125" y="55"/>
                  <a:pt x="125" y="55"/>
                  <a:pt x="125" y="55"/>
                </a:cubicBezTo>
                <a:cubicBezTo>
                  <a:pt x="114" y="55"/>
                  <a:pt x="114" y="55"/>
                  <a:pt x="114" y="55"/>
                </a:cubicBezTo>
                <a:cubicBezTo>
                  <a:pt x="114" y="43"/>
                  <a:pt x="114" y="43"/>
                  <a:pt x="114" y="43"/>
                </a:cubicBezTo>
                <a:cubicBezTo>
                  <a:pt x="102" y="43"/>
                  <a:pt x="102" y="43"/>
                  <a:pt x="102" y="43"/>
                </a:cubicBezTo>
                <a:cubicBezTo>
                  <a:pt x="102" y="33"/>
                  <a:pt x="102" y="33"/>
                  <a:pt x="102" y="33"/>
                </a:cubicBezTo>
                <a:cubicBezTo>
                  <a:pt x="114" y="33"/>
                  <a:pt x="114" y="33"/>
                  <a:pt x="114" y="33"/>
                </a:cubicBezTo>
                <a:cubicBezTo>
                  <a:pt x="114" y="21"/>
                  <a:pt x="114" y="21"/>
                  <a:pt x="114" y="21"/>
                </a:cubicBezTo>
                <a:cubicBezTo>
                  <a:pt x="125" y="21"/>
                  <a:pt x="125" y="21"/>
                  <a:pt x="125" y="21"/>
                </a:cubicBezTo>
                <a:cubicBezTo>
                  <a:pt x="125" y="33"/>
                  <a:pt x="125" y="33"/>
                  <a:pt x="125" y="33"/>
                </a:cubicBezTo>
                <a:cubicBezTo>
                  <a:pt x="137" y="33"/>
                  <a:pt x="137" y="33"/>
                  <a:pt x="137" y="33"/>
                </a:cubicBezTo>
                <a:lnTo>
                  <a:pt x="137" y="43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007">
              <a:defRPr/>
            </a:pPr>
            <a:endParaRPr lang="en-US" sz="1867" kern="0">
              <a:solidFill>
                <a:srgbClr val="000000"/>
              </a:solidFill>
            </a:endParaRPr>
          </a:p>
        </p:txBody>
      </p:sp>
      <p:sp>
        <p:nvSpPr>
          <p:cNvPr id="28" name="Freeform 36">
            <a:extLst>
              <a:ext uri="{FF2B5EF4-FFF2-40B4-BE49-F238E27FC236}">
                <a16:creationId xmlns:a16="http://schemas.microsoft.com/office/drawing/2014/main" id="{D67AD2B4-6966-49A4-BD3B-1CB22413FFEF}"/>
              </a:ext>
            </a:extLst>
          </p:cNvPr>
          <p:cNvSpPr>
            <a:spLocks noEditPoints="1"/>
          </p:cNvSpPr>
          <p:nvPr/>
        </p:nvSpPr>
        <p:spPr bwMode="auto">
          <a:xfrm>
            <a:off x="6989494" y="4354222"/>
            <a:ext cx="733841" cy="733841"/>
          </a:xfrm>
          <a:custGeom>
            <a:avLst/>
            <a:gdLst>
              <a:gd name="T0" fmla="*/ 170 w 170"/>
              <a:gd name="T1" fmla="*/ 98 h 170"/>
              <a:gd name="T2" fmla="*/ 148 w 170"/>
              <a:gd name="T3" fmla="*/ 76 h 170"/>
              <a:gd name="T4" fmla="*/ 126 w 170"/>
              <a:gd name="T5" fmla="*/ 98 h 170"/>
              <a:gd name="T6" fmla="*/ 143 w 170"/>
              <a:gd name="T7" fmla="*/ 120 h 170"/>
              <a:gd name="T8" fmla="*/ 95 w 170"/>
              <a:gd name="T9" fmla="*/ 160 h 170"/>
              <a:gd name="T10" fmla="*/ 45 w 170"/>
              <a:gd name="T11" fmla="*/ 106 h 170"/>
              <a:gd name="T12" fmla="*/ 52 w 170"/>
              <a:gd name="T13" fmla="*/ 98 h 170"/>
              <a:gd name="T14" fmla="*/ 52 w 170"/>
              <a:gd name="T15" fmla="*/ 98 h 170"/>
              <a:gd name="T16" fmla="*/ 65 w 170"/>
              <a:gd name="T17" fmla="*/ 82 h 170"/>
              <a:gd name="T18" fmla="*/ 79 w 170"/>
              <a:gd name="T19" fmla="*/ 5 h 170"/>
              <a:gd name="T20" fmla="*/ 59 w 170"/>
              <a:gd name="T21" fmla="*/ 0 h 170"/>
              <a:gd name="T22" fmla="*/ 59 w 170"/>
              <a:gd name="T23" fmla="*/ 0 h 170"/>
              <a:gd name="T24" fmla="*/ 58 w 170"/>
              <a:gd name="T25" fmla="*/ 0 h 170"/>
              <a:gd name="T26" fmla="*/ 51 w 170"/>
              <a:gd name="T27" fmla="*/ 8 h 170"/>
              <a:gd name="T28" fmla="*/ 56 w 170"/>
              <a:gd name="T29" fmla="*/ 15 h 170"/>
              <a:gd name="T30" fmla="*/ 56 w 170"/>
              <a:gd name="T31" fmla="*/ 15 h 170"/>
              <a:gd name="T32" fmla="*/ 56 w 170"/>
              <a:gd name="T33" fmla="*/ 15 h 170"/>
              <a:gd name="T34" fmla="*/ 57 w 170"/>
              <a:gd name="T35" fmla="*/ 15 h 170"/>
              <a:gd name="T36" fmla="*/ 61 w 170"/>
              <a:gd name="T37" fmla="*/ 16 h 170"/>
              <a:gd name="T38" fmla="*/ 50 w 170"/>
              <a:gd name="T39" fmla="*/ 79 h 170"/>
              <a:gd name="T40" fmla="*/ 50 w 170"/>
              <a:gd name="T41" fmla="*/ 79 h 170"/>
              <a:gd name="T42" fmla="*/ 42 w 170"/>
              <a:gd name="T43" fmla="*/ 85 h 170"/>
              <a:gd name="T44" fmla="*/ 36 w 170"/>
              <a:gd name="T45" fmla="*/ 85 h 170"/>
              <a:gd name="T46" fmla="*/ 28 w 170"/>
              <a:gd name="T47" fmla="*/ 79 h 170"/>
              <a:gd name="T48" fmla="*/ 17 w 170"/>
              <a:gd name="T49" fmla="*/ 16 h 170"/>
              <a:gd name="T50" fmla="*/ 21 w 170"/>
              <a:gd name="T51" fmla="*/ 15 h 170"/>
              <a:gd name="T52" fmla="*/ 28 w 170"/>
              <a:gd name="T53" fmla="*/ 8 h 170"/>
              <a:gd name="T54" fmla="*/ 20 w 170"/>
              <a:gd name="T55" fmla="*/ 0 h 170"/>
              <a:gd name="T56" fmla="*/ 18 w 170"/>
              <a:gd name="T57" fmla="*/ 0 h 170"/>
              <a:gd name="T58" fmla="*/ 18 w 170"/>
              <a:gd name="T59" fmla="*/ 0 h 170"/>
              <a:gd name="T60" fmla="*/ 0 w 170"/>
              <a:gd name="T61" fmla="*/ 5 h 170"/>
              <a:gd name="T62" fmla="*/ 13 w 170"/>
              <a:gd name="T63" fmla="*/ 82 h 170"/>
              <a:gd name="T64" fmla="*/ 28 w 170"/>
              <a:gd name="T65" fmla="*/ 98 h 170"/>
              <a:gd name="T66" fmla="*/ 35 w 170"/>
              <a:gd name="T67" fmla="*/ 106 h 170"/>
              <a:gd name="T68" fmla="*/ 95 w 170"/>
              <a:gd name="T69" fmla="*/ 170 h 170"/>
              <a:gd name="T70" fmla="*/ 135 w 170"/>
              <a:gd name="T71" fmla="*/ 154 h 170"/>
              <a:gd name="T72" fmla="*/ 154 w 170"/>
              <a:gd name="T73" fmla="*/ 120 h 170"/>
              <a:gd name="T74" fmla="*/ 170 w 170"/>
              <a:gd name="T75" fmla="*/ 98 h 170"/>
              <a:gd name="T76" fmla="*/ 148 w 170"/>
              <a:gd name="T77" fmla="*/ 106 h 170"/>
              <a:gd name="T78" fmla="*/ 141 w 170"/>
              <a:gd name="T79" fmla="*/ 98 h 170"/>
              <a:gd name="T80" fmla="*/ 148 w 170"/>
              <a:gd name="T81" fmla="*/ 91 h 170"/>
              <a:gd name="T82" fmla="*/ 155 w 170"/>
              <a:gd name="T83" fmla="*/ 98 h 170"/>
              <a:gd name="T84" fmla="*/ 148 w 170"/>
              <a:gd name="T85" fmla="*/ 106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0" h="170">
                <a:moveTo>
                  <a:pt x="170" y="98"/>
                </a:moveTo>
                <a:cubicBezTo>
                  <a:pt x="170" y="86"/>
                  <a:pt x="160" y="76"/>
                  <a:pt x="148" y="76"/>
                </a:cubicBezTo>
                <a:cubicBezTo>
                  <a:pt x="136" y="76"/>
                  <a:pt x="126" y="86"/>
                  <a:pt x="126" y="98"/>
                </a:cubicBezTo>
                <a:cubicBezTo>
                  <a:pt x="126" y="109"/>
                  <a:pt x="133" y="118"/>
                  <a:pt x="143" y="120"/>
                </a:cubicBezTo>
                <a:cubicBezTo>
                  <a:pt x="137" y="143"/>
                  <a:pt x="118" y="160"/>
                  <a:pt x="95" y="160"/>
                </a:cubicBezTo>
                <a:cubicBezTo>
                  <a:pt x="68" y="160"/>
                  <a:pt x="46" y="136"/>
                  <a:pt x="45" y="106"/>
                </a:cubicBezTo>
                <a:cubicBezTo>
                  <a:pt x="49" y="105"/>
                  <a:pt x="52" y="102"/>
                  <a:pt x="52" y="98"/>
                </a:cubicBezTo>
                <a:cubicBezTo>
                  <a:pt x="52" y="98"/>
                  <a:pt x="52" y="98"/>
                  <a:pt x="52" y="98"/>
                </a:cubicBezTo>
                <a:cubicBezTo>
                  <a:pt x="58" y="96"/>
                  <a:pt x="64" y="91"/>
                  <a:pt x="65" y="82"/>
                </a:cubicBezTo>
                <a:cubicBezTo>
                  <a:pt x="79" y="5"/>
                  <a:pt x="79" y="5"/>
                  <a:pt x="79" y="5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59" y="0"/>
                  <a:pt x="58" y="0"/>
                </a:cubicBezTo>
                <a:cubicBezTo>
                  <a:pt x="54" y="0"/>
                  <a:pt x="51" y="4"/>
                  <a:pt x="51" y="8"/>
                </a:cubicBezTo>
                <a:cubicBezTo>
                  <a:pt x="51" y="11"/>
                  <a:pt x="53" y="14"/>
                  <a:pt x="56" y="15"/>
                </a:cubicBezTo>
                <a:cubicBezTo>
                  <a:pt x="56" y="15"/>
                  <a:pt x="56" y="15"/>
                  <a:pt x="56" y="15"/>
                </a:cubicBezTo>
                <a:cubicBezTo>
                  <a:pt x="56" y="15"/>
                  <a:pt x="56" y="15"/>
                  <a:pt x="56" y="15"/>
                </a:cubicBezTo>
                <a:cubicBezTo>
                  <a:pt x="56" y="15"/>
                  <a:pt x="57" y="15"/>
                  <a:pt x="57" y="15"/>
                </a:cubicBezTo>
                <a:cubicBezTo>
                  <a:pt x="61" y="16"/>
                  <a:pt x="61" y="16"/>
                  <a:pt x="61" y="16"/>
                </a:cubicBezTo>
                <a:cubicBezTo>
                  <a:pt x="50" y="79"/>
                  <a:pt x="50" y="79"/>
                  <a:pt x="50" y="79"/>
                </a:cubicBezTo>
                <a:cubicBezTo>
                  <a:pt x="50" y="79"/>
                  <a:pt x="50" y="79"/>
                  <a:pt x="50" y="79"/>
                </a:cubicBezTo>
                <a:cubicBezTo>
                  <a:pt x="50" y="81"/>
                  <a:pt x="49" y="83"/>
                  <a:pt x="42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0" y="83"/>
                  <a:pt x="28" y="82"/>
                  <a:pt x="28" y="79"/>
                </a:cubicBezTo>
                <a:cubicBezTo>
                  <a:pt x="17" y="16"/>
                  <a:pt x="17" y="16"/>
                  <a:pt x="17" y="16"/>
                </a:cubicBezTo>
                <a:cubicBezTo>
                  <a:pt x="21" y="15"/>
                  <a:pt x="21" y="15"/>
                  <a:pt x="21" y="15"/>
                </a:cubicBezTo>
                <a:cubicBezTo>
                  <a:pt x="25" y="15"/>
                  <a:pt x="28" y="12"/>
                  <a:pt x="28" y="8"/>
                </a:cubicBezTo>
                <a:cubicBezTo>
                  <a:pt x="28" y="4"/>
                  <a:pt x="24" y="0"/>
                  <a:pt x="20" y="0"/>
                </a:cubicBezTo>
                <a:cubicBezTo>
                  <a:pt x="19" y="0"/>
                  <a:pt x="19" y="0"/>
                  <a:pt x="18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0" y="5"/>
                  <a:pt x="0" y="5"/>
                  <a:pt x="0" y="5"/>
                </a:cubicBezTo>
                <a:cubicBezTo>
                  <a:pt x="13" y="82"/>
                  <a:pt x="13" y="82"/>
                  <a:pt x="13" y="82"/>
                </a:cubicBezTo>
                <a:cubicBezTo>
                  <a:pt x="15" y="92"/>
                  <a:pt x="22" y="96"/>
                  <a:pt x="28" y="98"/>
                </a:cubicBezTo>
                <a:cubicBezTo>
                  <a:pt x="28" y="102"/>
                  <a:pt x="31" y="106"/>
                  <a:pt x="35" y="106"/>
                </a:cubicBezTo>
                <a:cubicBezTo>
                  <a:pt x="36" y="141"/>
                  <a:pt x="63" y="170"/>
                  <a:pt x="95" y="170"/>
                </a:cubicBezTo>
                <a:cubicBezTo>
                  <a:pt x="110" y="170"/>
                  <a:pt x="124" y="165"/>
                  <a:pt x="135" y="154"/>
                </a:cubicBezTo>
                <a:cubicBezTo>
                  <a:pt x="144" y="145"/>
                  <a:pt x="151" y="133"/>
                  <a:pt x="154" y="120"/>
                </a:cubicBezTo>
                <a:cubicBezTo>
                  <a:pt x="163" y="117"/>
                  <a:pt x="170" y="108"/>
                  <a:pt x="170" y="98"/>
                </a:cubicBezTo>
                <a:close/>
                <a:moveTo>
                  <a:pt x="148" y="106"/>
                </a:moveTo>
                <a:cubicBezTo>
                  <a:pt x="144" y="106"/>
                  <a:pt x="141" y="102"/>
                  <a:pt x="141" y="98"/>
                </a:cubicBezTo>
                <a:cubicBezTo>
                  <a:pt x="141" y="94"/>
                  <a:pt x="144" y="91"/>
                  <a:pt x="148" y="91"/>
                </a:cubicBezTo>
                <a:cubicBezTo>
                  <a:pt x="152" y="91"/>
                  <a:pt x="155" y="94"/>
                  <a:pt x="155" y="98"/>
                </a:cubicBezTo>
                <a:cubicBezTo>
                  <a:pt x="155" y="102"/>
                  <a:pt x="152" y="106"/>
                  <a:pt x="148" y="106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007">
              <a:defRPr/>
            </a:pPr>
            <a:endParaRPr lang="en-US" sz="1867" kern="0">
              <a:solidFill>
                <a:srgbClr val="000000"/>
              </a:solidFill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9BFF3AB-56CB-4B6F-8EB3-73BA1EAE56B6}"/>
              </a:ext>
            </a:extLst>
          </p:cNvPr>
          <p:cNvGrpSpPr/>
          <p:nvPr/>
        </p:nvGrpSpPr>
        <p:grpSpPr>
          <a:xfrm>
            <a:off x="6941253" y="3488962"/>
            <a:ext cx="802623" cy="705391"/>
            <a:chOff x="395536" y="4931569"/>
            <a:chExt cx="668338" cy="587375"/>
          </a:xfrm>
          <a:solidFill>
            <a:schemeClr val="accent1">
              <a:lumMod val="50000"/>
            </a:schemeClr>
          </a:solidFill>
        </p:grpSpPr>
        <p:sp>
          <p:nvSpPr>
            <p:cNvPr id="34" name="Freeform 310">
              <a:extLst>
                <a:ext uri="{FF2B5EF4-FFF2-40B4-BE49-F238E27FC236}">
                  <a16:creationId xmlns:a16="http://schemas.microsoft.com/office/drawing/2014/main" id="{7F186451-4116-4E92-A666-8BAC0A8B92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5536" y="5204619"/>
              <a:ext cx="314325" cy="314325"/>
            </a:xfrm>
            <a:custGeom>
              <a:avLst/>
              <a:gdLst>
                <a:gd name="T0" fmla="*/ 57 w 81"/>
                <a:gd name="T1" fmla="*/ 12 h 81"/>
                <a:gd name="T2" fmla="*/ 46 w 81"/>
                <a:gd name="T3" fmla="*/ 1 h 81"/>
                <a:gd name="T4" fmla="*/ 41 w 81"/>
                <a:gd name="T5" fmla="*/ 0 h 81"/>
                <a:gd name="T6" fmla="*/ 0 w 81"/>
                <a:gd name="T7" fmla="*/ 41 h 81"/>
                <a:gd name="T8" fmla="*/ 7 w 81"/>
                <a:gd name="T9" fmla="*/ 63 h 81"/>
                <a:gd name="T10" fmla="*/ 32 w 81"/>
                <a:gd name="T11" fmla="*/ 80 h 81"/>
                <a:gd name="T12" fmla="*/ 41 w 81"/>
                <a:gd name="T13" fmla="*/ 81 h 81"/>
                <a:gd name="T14" fmla="*/ 50 w 81"/>
                <a:gd name="T15" fmla="*/ 80 h 81"/>
                <a:gd name="T16" fmla="*/ 74 w 81"/>
                <a:gd name="T17" fmla="*/ 63 h 81"/>
                <a:gd name="T18" fmla="*/ 81 w 81"/>
                <a:gd name="T19" fmla="*/ 41 h 81"/>
                <a:gd name="T20" fmla="*/ 75 w 81"/>
                <a:gd name="T21" fmla="*/ 19 h 81"/>
                <a:gd name="T22" fmla="*/ 57 w 81"/>
                <a:gd name="T23" fmla="*/ 12 h 81"/>
                <a:gd name="T24" fmla="*/ 49 w 81"/>
                <a:gd name="T25" fmla="*/ 36 h 81"/>
                <a:gd name="T26" fmla="*/ 52 w 81"/>
                <a:gd name="T27" fmla="*/ 38 h 81"/>
                <a:gd name="T28" fmla="*/ 49 w 81"/>
                <a:gd name="T29" fmla="*/ 40 h 81"/>
                <a:gd name="T30" fmla="*/ 35 w 81"/>
                <a:gd name="T31" fmla="*/ 40 h 81"/>
                <a:gd name="T32" fmla="*/ 35 w 81"/>
                <a:gd name="T33" fmla="*/ 42 h 81"/>
                <a:gd name="T34" fmla="*/ 35 w 81"/>
                <a:gd name="T35" fmla="*/ 44 h 81"/>
                <a:gd name="T36" fmla="*/ 46 w 81"/>
                <a:gd name="T37" fmla="*/ 44 h 81"/>
                <a:gd name="T38" fmla="*/ 49 w 81"/>
                <a:gd name="T39" fmla="*/ 46 h 81"/>
                <a:gd name="T40" fmla="*/ 46 w 81"/>
                <a:gd name="T41" fmla="*/ 48 h 81"/>
                <a:gd name="T42" fmla="*/ 36 w 81"/>
                <a:gd name="T43" fmla="*/ 48 h 81"/>
                <a:gd name="T44" fmla="*/ 46 w 81"/>
                <a:gd name="T45" fmla="*/ 54 h 81"/>
                <a:gd name="T46" fmla="*/ 50 w 81"/>
                <a:gd name="T47" fmla="*/ 54 h 81"/>
                <a:gd name="T48" fmla="*/ 53 w 81"/>
                <a:gd name="T49" fmla="*/ 53 h 81"/>
                <a:gd name="T50" fmla="*/ 57 w 81"/>
                <a:gd name="T51" fmla="*/ 57 h 81"/>
                <a:gd name="T52" fmla="*/ 54 w 81"/>
                <a:gd name="T53" fmla="*/ 61 h 81"/>
                <a:gd name="T54" fmla="*/ 47 w 81"/>
                <a:gd name="T55" fmla="*/ 63 h 81"/>
                <a:gd name="T56" fmla="*/ 25 w 81"/>
                <a:gd name="T57" fmla="*/ 48 h 81"/>
                <a:gd name="T58" fmla="*/ 22 w 81"/>
                <a:gd name="T59" fmla="*/ 48 h 81"/>
                <a:gd name="T60" fmla="*/ 20 w 81"/>
                <a:gd name="T61" fmla="*/ 46 h 81"/>
                <a:gd name="T62" fmla="*/ 22 w 81"/>
                <a:gd name="T63" fmla="*/ 44 h 81"/>
                <a:gd name="T64" fmla="*/ 24 w 81"/>
                <a:gd name="T65" fmla="*/ 44 h 81"/>
                <a:gd name="T66" fmla="*/ 24 w 81"/>
                <a:gd name="T67" fmla="*/ 42 h 81"/>
                <a:gd name="T68" fmla="*/ 24 w 81"/>
                <a:gd name="T69" fmla="*/ 40 h 81"/>
                <a:gd name="T70" fmla="*/ 22 w 81"/>
                <a:gd name="T71" fmla="*/ 40 h 81"/>
                <a:gd name="T72" fmla="*/ 19 w 81"/>
                <a:gd name="T73" fmla="*/ 38 h 81"/>
                <a:gd name="T74" fmla="*/ 22 w 81"/>
                <a:gd name="T75" fmla="*/ 36 h 81"/>
                <a:gd name="T76" fmla="*/ 25 w 81"/>
                <a:gd name="T77" fmla="*/ 36 h 81"/>
                <a:gd name="T78" fmla="*/ 47 w 81"/>
                <a:gd name="T79" fmla="*/ 21 h 81"/>
                <a:gd name="T80" fmla="*/ 55 w 81"/>
                <a:gd name="T81" fmla="*/ 22 h 81"/>
                <a:gd name="T82" fmla="*/ 58 w 81"/>
                <a:gd name="T83" fmla="*/ 26 h 81"/>
                <a:gd name="T84" fmla="*/ 54 w 81"/>
                <a:gd name="T85" fmla="*/ 30 h 81"/>
                <a:gd name="T86" fmla="*/ 51 w 81"/>
                <a:gd name="T87" fmla="*/ 30 h 81"/>
                <a:gd name="T88" fmla="*/ 46 w 81"/>
                <a:gd name="T89" fmla="*/ 29 h 81"/>
                <a:gd name="T90" fmla="*/ 36 w 81"/>
                <a:gd name="T91" fmla="*/ 36 h 81"/>
                <a:gd name="T92" fmla="*/ 49 w 81"/>
                <a:gd name="T93" fmla="*/ 3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1" h="81">
                  <a:moveTo>
                    <a:pt x="57" y="12"/>
                  </a:moveTo>
                  <a:cubicBezTo>
                    <a:pt x="53" y="9"/>
                    <a:pt x="49" y="5"/>
                    <a:pt x="46" y="1"/>
                  </a:cubicBezTo>
                  <a:cubicBezTo>
                    <a:pt x="44" y="1"/>
                    <a:pt x="43" y="0"/>
                    <a:pt x="41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49"/>
                    <a:pt x="3" y="57"/>
                    <a:pt x="7" y="63"/>
                  </a:cubicBezTo>
                  <a:cubicBezTo>
                    <a:pt x="13" y="72"/>
                    <a:pt x="21" y="78"/>
                    <a:pt x="32" y="80"/>
                  </a:cubicBezTo>
                  <a:cubicBezTo>
                    <a:pt x="35" y="81"/>
                    <a:pt x="38" y="81"/>
                    <a:pt x="41" y="81"/>
                  </a:cubicBezTo>
                  <a:cubicBezTo>
                    <a:pt x="44" y="81"/>
                    <a:pt x="47" y="81"/>
                    <a:pt x="50" y="80"/>
                  </a:cubicBezTo>
                  <a:cubicBezTo>
                    <a:pt x="60" y="78"/>
                    <a:pt x="69" y="72"/>
                    <a:pt x="74" y="63"/>
                  </a:cubicBezTo>
                  <a:cubicBezTo>
                    <a:pt x="79" y="57"/>
                    <a:pt x="81" y="49"/>
                    <a:pt x="81" y="41"/>
                  </a:cubicBezTo>
                  <a:cubicBezTo>
                    <a:pt x="81" y="33"/>
                    <a:pt x="79" y="26"/>
                    <a:pt x="75" y="19"/>
                  </a:cubicBezTo>
                  <a:cubicBezTo>
                    <a:pt x="69" y="18"/>
                    <a:pt x="63" y="15"/>
                    <a:pt x="57" y="12"/>
                  </a:cubicBezTo>
                  <a:close/>
                  <a:moveTo>
                    <a:pt x="49" y="36"/>
                  </a:moveTo>
                  <a:cubicBezTo>
                    <a:pt x="51" y="36"/>
                    <a:pt x="52" y="36"/>
                    <a:pt x="52" y="38"/>
                  </a:cubicBezTo>
                  <a:cubicBezTo>
                    <a:pt x="52" y="39"/>
                    <a:pt x="51" y="40"/>
                    <a:pt x="49" y="40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5" y="41"/>
                    <a:pt x="35" y="41"/>
                    <a:pt x="35" y="42"/>
                  </a:cubicBezTo>
                  <a:cubicBezTo>
                    <a:pt x="35" y="42"/>
                    <a:pt x="35" y="43"/>
                    <a:pt x="35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8" y="44"/>
                    <a:pt x="49" y="44"/>
                    <a:pt x="49" y="46"/>
                  </a:cubicBezTo>
                  <a:cubicBezTo>
                    <a:pt x="49" y="47"/>
                    <a:pt x="48" y="48"/>
                    <a:pt x="4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8" y="52"/>
                    <a:pt x="42" y="54"/>
                    <a:pt x="46" y="54"/>
                  </a:cubicBezTo>
                  <a:cubicBezTo>
                    <a:pt x="48" y="54"/>
                    <a:pt x="49" y="54"/>
                    <a:pt x="50" y="54"/>
                  </a:cubicBezTo>
                  <a:cubicBezTo>
                    <a:pt x="52" y="54"/>
                    <a:pt x="53" y="53"/>
                    <a:pt x="53" y="53"/>
                  </a:cubicBezTo>
                  <a:cubicBezTo>
                    <a:pt x="56" y="53"/>
                    <a:pt x="57" y="56"/>
                    <a:pt x="57" y="57"/>
                  </a:cubicBezTo>
                  <a:cubicBezTo>
                    <a:pt x="57" y="59"/>
                    <a:pt x="56" y="61"/>
                    <a:pt x="54" y="61"/>
                  </a:cubicBezTo>
                  <a:cubicBezTo>
                    <a:pt x="51" y="62"/>
                    <a:pt x="49" y="63"/>
                    <a:pt x="47" y="63"/>
                  </a:cubicBezTo>
                  <a:cubicBezTo>
                    <a:pt x="36" y="63"/>
                    <a:pt x="28" y="58"/>
                    <a:pt x="25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1" y="48"/>
                    <a:pt x="20" y="47"/>
                    <a:pt x="20" y="46"/>
                  </a:cubicBezTo>
                  <a:cubicBezTo>
                    <a:pt x="20" y="44"/>
                    <a:pt x="21" y="44"/>
                    <a:pt x="22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3"/>
                    <a:pt x="24" y="42"/>
                    <a:pt x="24" y="42"/>
                  </a:cubicBezTo>
                  <a:cubicBezTo>
                    <a:pt x="24" y="41"/>
                    <a:pt x="24" y="41"/>
                    <a:pt x="24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0" y="40"/>
                    <a:pt x="19" y="39"/>
                    <a:pt x="19" y="38"/>
                  </a:cubicBezTo>
                  <a:cubicBezTo>
                    <a:pt x="19" y="36"/>
                    <a:pt x="20" y="36"/>
                    <a:pt x="22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7" y="26"/>
                    <a:pt x="36" y="21"/>
                    <a:pt x="47" y="21"/>
                  </a:cubicBezTo>
                  <a:cubicBezTo>
                    <a:pt x="49" y="21"/>
                    <a:pt x="53" y="22"/>
                    <a:pt x="55" y="22"/>
                  </a:cubicBezTo>
                  <a:cubicBezTo>
                    <a:pt x="57" y="23"/>
                    <a:pt x="58" y="24"/>
                    <a:pt x="58" y="26"/>
                  </a:cubicBezTo>
                  <a:cubicBezTo>
                    <a:pt x="58" y="28"/>
                    <a:pt x="57" y="30"/>
                    <a:pt x="54" y="30"/>
                  </a:cubicBezTo>
                  <a:cubicBezTo>
                    <a:pt x="54" y="30"/>
                    <a:pt x="53" y="30"/>
                    <a:pt x="51" y="30"/>
                  </a:cubicBezTo>
                  <a:cubicBezTo>
                    <a:pt x="50" y="29"/>
                    <a:pt x="48" y="29"/>
                    <a:pt x="46" y="29"/>
                  </a:cubicBezTo>
                  <a:cubicBezTo>
                    <a:pt x="42" y="29"/>
                    <a:pt x="38" y="32"/>
                    <a:pt x="36" y="36"/>
                  </a:cubicBezTo>
                  <a:lnTo>
                    <a:pt x="49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007">
                <a:defRPr/>
              </a:pPr>
              <a:endParaRPr lang="en-US" sz="1867" kern="0">
                <a:solidFill>
                  <a:srgbClr val="000000"/>
                </a:solidFill>
              </a:endParaRPr>
            </a:p>
          </p:txBody>
        </p:sp>
        <p:sp>
          <p:nvSpPr>
            <p:cNvPr id="35" name="Freeform 311">
              <a:extLst>
                <a:ext uri="{FF2B5EF4-FFF2-40B4-BE49-F238E27FC236}">
                  <a16:creationId xmlns:a16="http://schemas.microsoft.com/office/drawing/2014/main" id="{98D16C0D-CD88-4C9B-AD39-90561E29D4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961" y="5204619"/>
              <a:ext cx="315913" cy="314325"/>
            </a:xfrm>
            <a:custGeom>
              <a:avLst/>
              <a:gdLst>
                <a:gd name="T0" fmla="*/ 40 w 81"/>
                <a:gd name="T1" fmla="*/ 0 h 81"/>
                <a:gd name="T2" fmla="*/ 35 w 81"/>
                <a:gd name="T3" fmla="*/ 1 h 81"/>
                <a:gd name="T4" fmla="*/ 6 w 81"/>
                <a:gd name="T5" fmla="*/ 19 h 81"/>
                <a:gd name="T6" fmla="*/ 6 w 81"/>
                <a:gd name="T7" fmla="*/ 19 h 81"/>
                <a:gd name="T8" fmla="*/ 0 w 81"/>
                <a:gd name="T9" fmla="*/ 41 h 81"/>
                <a:gd name="T10" fmla="*/ 7 w 81"/>
                <a:gd name="T11" fmla="*/ 63 h 81"/>
                <a:gd name="T12" fmla="*/ 32 w 81"/>
                <a:gd name="T13" fmla="*/ 80 h 81"/>
                <a:gd name="T14" fmla="*/ 41 w 81"/>
                <a:gd name="T15" fmla="*/ 81 h 81"/>
                <a:gd name="T16" fmla="*/ 50 w 81"/>
                <a:gd name="T17" fmla="*/ 80 h 81"/>
                <a:gd name="T18" fmla="*/ 74 w 81"/>
                <a:gd name="T19" fmla="*/ 63 h 81"/>
                <a:gd name="T20" fmla="*/ 81 w 81"/>
                <a:gd name="T21" fmla="*/ 40 h 81"/>
                <a:gd name="T22" fmla="*/ 40 w 81"/>
                <a:gd name="T23" fmla="*/ 0 h 81"/>
                <a:gd name="T24" fmla="*/ 56 w 81"/>
                <a:gd name="T25" fmla="*/ 28 h 81"/>
                <a:gd name="T26" fmla="*/ 46 w 81"/>
                <a:gd name="T27" fmla="*/ 45 h 81"/>
                <a:gd name="T28" fmla="*/ 46 w 81"/>
                <a:gd name="T29" fmla="*/ 48 h 81"/>
                <a:gd name="T30" fmla="*/ 50 w 81"/>
                <a:gd name="T31" fmla="*/ 48 h 81"/>
                <a:gd name="T32" fmla="*/ 52 w 81"/>
                <a:gd name="T33" fmla="*/ 50 h 81"/>
                <a:gd name="T34" fmla="*/ 50 w 81"/>
                <a:gd name="T35" fmla="*/ 52 h 81"/>
                <a:gd name="T36" fmla="*/ 46 w 81"/>
                <a:gd name="T37" fmla="*/ 52 h 81"/>
                <a:gd name="T38" fmla="*/ 46 w 81"/>
                <a:gd name="T39" fmla="*/ 54 h 81"/>
                <a:gd name="T40" fmla="*/ 50 w 81"/>
                <a:gd name="T41" fmla="*/ 54 h 81"/>
                <a:gd name="T42" fmla="*/ 52 w 81"/>
                <a:gd name="T43" fmla="*/ 57 h 81"/>
                <a:gd name="T44" fmla="*/ 50 w 81"/>
                <a:gd name="T45" fmla="*/ 59 h 81"/>
                <a:gd name="T46" fmla="*/ 46 w 81"/>
                <a:gd name="T47" fmla="*/ 59 h 81"/>
                <a:gd name="T48" fmla="*/ 46 w 81"/>
                <a:gd name="T49" fmla="*/ 59 h 81"/>
                <a:gd name="T50" fmla="*/ 40 w 81"/>
                <a:gd name="T51" fmla="*/ 63 h 81"/>
                <a:gd name="T52" fmla="*/ 35 w 81"/>
                <a:gd name="T53" fmla="*/ 59 h 81"/>
                <a:gd name="T54" fmla="*/ 35 w 81"/>
                <a:gd name="T55" fmla="*/ 59 h 81"/>
                <a:gd name="T56" fmla="*/ 31 w 81"/>
                <a:gd name="T57" fmla="*/ 59 h 81"/>
                <a:gd name="T58" fmla="*/ 28 w 81"/>
                <a:gd name="T59" fmla="*/ 57 h 81"/>
                <a:gd name="T60" fmla="*/ 31 w 81"/>
                <a:gd name="T61" fmla="*/ 54 h 81"/>
                <a:gd name="T62" fmla="*/ 35 w 81"/>
                <a:gd name="T63" fmla="*/ 54 h 81"/>
                <a:gd name="T64" fmla="*/ 35 w 81"/>
                <a:gd name="T65" fmla="*/ 52 h 81"/>
                <a:gd name="T66" fmla="*/ 31 w 81"/>
                <a:gd name="T67" fmla="*/ 52 h 81"/>
                <a:gd name="T68" fmla="*/ 28 w 81"/>
                <a:gd name="T69" fmla="*/ 50 h 81"/>
                <a:gd name="T70" fmla="*/ 31 w 81"/>
                <a:gd name="T71" fmla="*/ 48 h 81"/>
                <a:gd name="T72" fmla="*/ 35 w 81"/>
                <a:gd name="T73" fmla="*/ 48 h 81"/>
                <a:gd name="T74" fmla="*/ 35 w 81"/>
                <a:gd name="T75" fmla="*/ 45 h 81"/>
                <a:gd name="T76" fmla="*/ 25 w 81"/>
                <a:gd name="T77" fmla="*/ 28 h 81"/>
                <a:gd name="T78" fmla="*/ 24 w 81"/>
                <a:gd name="T79" fmla="*/ 25 h 81"/>
                <a:gd name="T80" fmla="*/ 29 w 81"/>
                <a:gd name="T81" fmla="*/ 21 h 81"/>
                <a:gd name="T82" fmla="*/ 33 w 81"/>
                <a:gd name="T83" fmla="*/ 24 h 81"/>
                <a:gd name="T84" fmla="*/ 40 w 81"/>
                <a:gd name="T85" fmla="*/ 37 h 81"/>
                <a:gd name="T86" fmla="*/ 40 w 81"/>
                <a:gd name="T87" fmla="*/ 37 h 81"/>
                <a:gd name="T88" fmla="*/ 48 w 81"/>
                <a:gd name="T89" fmla="*/ 24 h 81"/>
                <a:gd name="T90" fmla="*/ 52 w 81"/>
                <a:gd name="T91" fmla="*/ 21 h 81"/>
                <a:gd name="T92" fmla="*/ 57 w 81"/>
                <a:gd name="T93" fmla="*/ 25 h 81"/>
                <a:gd name="T94" fmla="*/ 56 w 81"/>
                <a:gd name="T95" fmla="*/ 2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1" h="81">
                  <a:moveTo>
                    <a:pt x="40" y="0"/>
                  </a:moveTo>
                  <a:cubicBezTo>
                    <a:pt x="38" y="0"/>
                    <a:pt x="36" y="1"/>
                    <a:pt x="35" y="1"/>
                  </a:cubicBezTo>
                  <a:cubicBezTo>
                    <a:pt x="28" y="10"/>
                    <a:pt x="18" y="16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2" y="26"/>
                    <a:pt x="0" y="33"/>
                    <a:pt x="0" y="41"/>
                  </a:cubicBezTo>
                  <a:cubicBezTo>
                    <a:pt x="0" y="49"/>
                    <a:pt x="2" y="57"/>
                    <a:pt x="7" y="63"/>
                  </a:cubicBezTo>
                  <a:cubicBezTo>
                    <a:pt x="12" y="72"/>
                    <a:pt x="21" y="78"/>
                    <a:pt x="32" y="80"/>
                  </a:cubicBezTo>
                  <a:cubicBezTo>
                    <a:pt x="35" y="81"/>
                    <a:pt x="38" y="81"/>
                    <a:pt x="41" y="81"/>
                  </a:cubicBezTo>
                  <a:cubicBezTo>
                    <a:pt x="44" y="81"/>
                    <a:pt x="47" y="81"/>
                    <a:pt x="50" y="80"/>
                  </a:cubicBezTo>
                  <a:cubicBezTo>
                    <a:pt x="60" y="77"/>
                    <a:pt x="69" y="71"/>
                    <a:pt x="74" y="63"/>
                  </a:cubicBezTo>
                  <a:cubicBezTo>
                    <a:pt x="78" y="56"/>
                    <a:pt x="81" y="49"/>
                    <a:pt x="81" y="40"/>
                  </a:cubicBezTo>
                  <a:cubicBezTo>
                    <a:pt x="80" y="18"/>
                    <a:pt x="62" y="0"/>
                    <a:pt x="40" y="0"/>
                  </a:cubicBezTo>
                  <a:close/>
                  <a:moveTo>
                    <a:pt x="56" y="28"/>
                  </a:moveTo>
                  <a:cubicBezTo>
                    <a:pt x="46" y="45"/>
                    <a:pt x="46" y="45"/>
                    <a:pt x="46" y="45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1" y="48"/>
                    <a:pt x="52" y="48"/>
                    <a:pt x="52" y="50"/>
                  </a:cubicBezTo>
                  <a:cubicBezTo>
                    <a:pt x="52" y="51"/>
                    <a:pt x="51" y="52"/>
                    <a:pt x="50" y="52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1" y="54"/>
                    <a:pt x="52" y="55"/>
                    <a:pt x="52" y="57"/>
                  </a:cubicBezTo>
                  <a:cubicBezTo>
                    <a:pt x="52" y="58"/>
                    <a:pt x="51" y="59"/>
                    <a:pt x="50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62"/>
                    <a:pt x="43" y="63"/>
                    <a:pt x="40" y="63"/>
                  </a:cubicBezTo>
                  <a:cubicBezTo>
                    <a:pt x="38" y="63"/>
                    <a:pt x="35" y="62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1" y="59"/>
                    <a:pt x="31" y="59"/>
                    <a:pt x="31" y="59"/>
                  </a:cubicBezTo>
                  <a:cubicBezTo>
                    <a:pt x="29" y="59"/>
                    <a:pt x="28" y="58"/>
                    <a:pt x="28" y="57"/>
                  </a:cubicBezTo>
                  <a:cubicBezTo>
                    <a:pt x="28" y="55"/>
                    <a:pt x="29" y="54"/>
                    <a:pt x="31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9" y="52"/>
                    <a:pt x="28" y="51"/>
                    <a:pt x="28" y="50"/>
                  </a:cubicBezTo>
                  <a:cubicBezTo>
                    <a:pt x="28" y="48"/>
                    <a:pt x="29" y="48"/>
                    <a:pt x="31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4" y="27"/>
                    <a:pt x="24" y="26"/>
                    <a:pt x="24" y="25"/>
                  </a:cubicBezTo>
                  <a:cubicBezTo>
                    <a:pt x="24" y="22"/>
                    <a:pt x="26" y="20"/>
                    <a:pt x="29" y="21"/>
                  </a:cubicBezTo>
                  <a:cubicBezTo>
                    <a:pt x="30" y="21"/>
                    <a:pt x="32" y="21"/>
                    <a:pt x="33" y="24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9" y="21"/>
                    <a:pt x="50" y="21"/>
                    <a:pt x="52" y="21"/>
                  </a:cubicBezTo>
                  <a:cubicBezTo>
                    <a:pt x="54" y="20"/>
                    <a:pt x="57" y="22"/>
                    <a:pt x="57" y="25"/>
                  </a:cubicBezTo>
                  <a:cubicBezTo>
                    <a:pt x="57" y="26"/>
                    <a:pt x="57" y="27"/>
                    <a:pt x="5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007">
                <a:defRPr/>
              </a:pPr>
              <a:endParaRPr lang="en-US" sz="1867" kern="0">
                <a:solidFill>
                  <a:srgbClr val="000000"/>
                </a:solidFill>
              </a:endParaRPr>
            </a:p>
          </p:txBody>
        </p:sp>
        <p:sp>
          <p:nvSpPr>
            <p:cNvPr id="36" name="Freeform 312">
              <a:extLst>
                <a:ext uri="{FF2B5EF4-FFF2-40B4-BE49-F238E27FC236}">
                  <a16:creationId xmlns:a16="http://schemas.microsoft.com/office/drawing/2014/main" id="{D631196C-0697-40B9-9B0B-18D1D0A1CC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3336" y="4931569"/>
              <a:ext cx="311150" cy="315913"/>
            </a:xfrm>
            <a:custGeom>
              <a:avLst/>
              <a:gdLst>
                <a:gd name="T0" fmla="*/ 49 w 80"/>
                <a:gd name="T1" fmla="*/ 80 h 81"/>
                <a:gd name="T2" fmla="*/ 53 w 80"/>
                <a:gd name="T3" fmla="*/ 79 h 81"/>
                <a:gd name="T4" fmla="*/ 69 w 80"/>
                <a:gd name="T5" fmla="*/ 69 h 81"/>
                <a:gd name="T6" fmla="*/ 74 w 80"/>
                <a:gd name="T7" fmla="*/ 63 h 81"/>
                <a:gd name="T8" fmla="*/ 74 w 80"/>
                <a:gd name="T9" fmla="*/ 62 h 81"/>
                <a:gd name="T10" fmla="*/ 80 w 80"/>
                <a:gd name="T11" fmla="*/ 41 h 81"/>
                <a:gd name="T12" fmla="*/ 40 w 80"/>
                <a:gd name="T13" fmla="*/ 0 h 81"/>
                <a:gd name="T14" fmla="*/ 0 w 80"/>
                <a:gd name="T15" fmla="*/ 41 h 81"/>
                <a:gd name="T16" fmla="*/ 6 w 80"/>
                <a:gd name="T17" fmla="*/ 62 h 81"/>
                <a:gd name="T18" fmla="*/ 6 w 80"/>
                <a:gd name="T19" fmla="*/ 63 h 81"/>
                <a:gd name="T20" fmla="*/ 11 w 80"/>
                <a:gd name="T21" fmla="*/ 69 h 81"/>
                <a:gd name="T22" fmla="*/ 27 w 80"/>
                <a:gd name="T23" fmla="*/ 79 h 81"/>
                <a:gd name="T24" fmla="*/ 31 w 80"/>
                <a:gd name="T25" fmla="*/ 80 h 81"/>
                <a:gd name="T26" fmla="*/ 34 w 80"/>
                <a:gd name="T27" fmla="*/ 81 h 81"/>
                <a:gd name="T28" fmla="*/ 40 w 80"/>
                <a:gd name="T29" fmla="*/ 81 h 81"/>
                <a:gd name="T30" fmla="*/ 45 w 80"/>
                <a:gd name="T31" fmla="*/ 81 h 81"/>
                <a:gd name="T32" fmla="*/ 49 w 80"/>
                <a:gd name="T33" fmla="*/ 80 h 81"/>
                <a:gd name="T34" fmla="*/ 43 w 80"/>
                <a:gd name="T35" fmla="*/ 64 h 81"/>
                <a:gd name="T36" fmla="*/ 40 w 80"/>
                <a:gd name="T37" fmla="*/ 67 h 81"/>
                <a:gd name="T38" fmla="*/ 37 w 80"/>
                <a:gd name="T39" fmla="*/ 64 h 81"/>
                <a:gd name="T40" fmla="*/ 37 w 80"/>
                <a:gd name="T41" fmla="*/ 61 h 81"/>
                <a:gd name="T42" fmla="*/ 29 w 80"/>
                <a:gd name="T43" fmla="*/ 59 h 81"/>
                <a:gd name="T44" fmla="*/ 26 w 80"/>
                <a:gd name="T45" fmla="*/ 55 h 81"/>
                <a:gd name="T46" fmla="*/ 31 w 80"/>
                <a:gd name="T47" fmla="*/ 51 h 81"/>
                <a:gd name="T48" fmla="*/ 38 w 80"/>
                <a:gd name="T49" fmla="*/ 53 h 81"/>
                <a:gd name="T50" fmla="*/ 44 w 80"/>
                <a:gd name="T51" fmla="*/ 49 h 81"/>
                <a:gd name="T52" fmla="*/ 38 w 80"/>
                <a:gd name="T53" fmla="*/ 45 h 81"/>
                <a:gd name="T54" fmla="*/ 26 w 80"/>
                <a:gd name="T55" fmla="*/ 32 h 81"/>
                <a:gd name="T56" fmla="*/ 37 w 80"/>
                <a:gd name="T57" fmla="*/ 20 h 81"/>
                <a:gd name="T58" fmla="*/ 37 w 80"/>
                <a:gd name="T59" fmla="*/ 18 h 81"/>
                <a:gd name="T60" fmla="*/ 40 w 80"/>
                <a:gd name="T61" fmla="*/ 15 h 81"/>
                <a:gd name="T62" fmla="*/ 43 w 80"/>
                <a:gd name="T63" fmla="*/ 18 h 81"/>
                <a:gd name="T64" fmla="*/ 43 w 80"/>
                <a:gd name="T65" fmla="*/ 20 h 81"/>
                <a:gd name="T66" fmla="*/ 50 w 80"/>
                <a:gd name="T67" fmla="*/ 22 h 81"/>
                <a:gd name="T68" fmla="*/ 53 w 80"/>
                <a:gd name="T69" fmla="*/ 26 h 81"/>
                <a:gd name="T70" fmla="*/ 47 w 80"/>
                <a:gd name="T71" fmla="*/ 30 h 81"/>
                <a:gd name="T72" fmla="*/ 41 w 80"/>
                <a:gd name="T73" fmla="*/ 28 h 81"/>
                <a:gd name="T74" fmla="*/ 36 w 80"/>
                <a:gd name="T75" fmla="*/ 31 h 81"/>
                <a:gd name="T76" fmla="*/ 42 w 80"/>
                <a:gd name="T77" fmla="*/ 36 h 81"/>
                <a:gd name="T78" fmla="*/ 54 w 80"/>
                <a:gd name="T79" fmla="*/ 49 h 81"/>
                <a:gd name="T80" fmla="*/ 43 w 80"/>
                <a:gd name="T81" fmla="*/ 61 h 81"/>
                <a:gd name="T82" fmla="*/ 43 w 80"/>
                <a:gd name="T83" fmla="*/ 6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0" h="81">
                  <a:moveTo>
                    <a:pt x="49" y="80"/>
                  </a:moveTo>
                  <a:cubicBezTo>
                    <a:pt x="51" y="80"/>
                    <a:pt x="52" y="79"/>
                    <a:pt x="53" y="79"/>
                  </a:cubicBezTo>
                  <a:cubicBezTo>
                    <a:pt x="59" y="77"/>
                    <a:pt x="65" y="73"/>
                    <a:pt x="69" y="69"/>
                  </a:cubicBezTo>
                  <a:cubicBezTo>
                    <a:pt x="71" y="67"/>
                    <a:pt x="72" y="65"/>
                    <a:pt x="74" y="63"/>
                  </a:cubicBezTo>
                  <a:cubicBezTo>
                    <a:pt x="74" y="63"/>
                    <a:pt x="74" y="62"/>
                    <a:pt x="74" y="62"/>
                  </a:cubicBezTo>
                  <a:cubicBezTo>
                    <a:pt x="78" y="56"/>
                    <a:pt x="80" y="49"/>
                    <a:pt x="80" y="41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49"/>
                    <a:pt x="2" y="56"/>
                    <a:pt x="6" y="62"/>
                  </a:cubicBezTo>
                  <a:cubicBezTo>
                    <a:pt x="6" y="62"/>
                    <a:pt x="6" y="63"/>
                    <a:pt x="6" y="63"/>
                  </a:cubicBezTo>
                  <a:cubicBezTo>
                    <a:pt x="7" y="65"/>
                    <a:pt x="9" y="67"/>
                    <a:pt x="11" y="69"/>
                  </a:cubicBezTo>
                  <a:cubicBezTo>
                    <a:pt x="15" y="73"/>
                    <a:pt x="20" y="77"/>
                    <a:pt x="27" y="79"/>
                  </a:cubicBezTo>
                  <a:cubicBezTo>
                    <a:pt x="28" y="79"/>
                    <a:pt x="29" y="80"/>
                    <a:pt x="31" y="80"/>
                  </a:cubicBezTo>
                  <a:cubicBezTo>
                    <a:pt x="32" y="80"/>
                    <a:pt x="33" y="81"/>
                    <a:pt x="34" y="81"/>
                  </a:cubicBezTo>
                  <a:cubicBezTo>
                    <a:pt x="36" y="81"/>
                    <a:pt x="38" y="81"/>
                    <a:pt x="40" y="81"/>
                  </a:cubicBezTo>
                  <a:cubicBezTo>
                    <a:pt x="42" y="81"/>
                    <a:pt x="44" y="81"/>
                    <a:pt x="45" y="81"/>
                  </a:cubicBezTo>
                  <a:cubicBezTo>
                    <a:pt x="47" y="81"/>
                    <a:pt x="48" y="80"/>
                    <a:pt x="49" y="80"/>
                  </a:cubicBezTo>
                  <a:close/>
                  <a:moveTo>
                    <a:pt x="43" y="64"/>
                  </a:moveTo>
                  <a:cubicBezTo>
                    <a:pt x="43" y="66"/>
                    <a:pt x="42" y="67"/>
                    <a:pt x="40" y="67"/>
                  </a:cubicBezTo>
                  <a:cubicBezTo>
                    <a:pt x="39" y="67"/>
                    <a:pt x="37" y="66"/>
                    <a:pt x="37" y="64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4" y="61"/>
                    <a:pt x="31" y="60"/>
                    <a:pt x="29" y="59"/>
                  </a:cubicBezTo>
                  <a:cubicBezTo>
                    <a:pt x="27" y="59"/>
                    <a:pt x="26" y="57"/>
                    <a:pt x="26" y="55"/>
                  </a:cubicBezTo>
                  <a:cubicBezTo>
                    <a:pt x="26" y="52"/>
                    <a:pt x="28" y="51"/>
                    <a:pt x="31" y="51"/>
                  </a:cubicBezTo>
                  <a:cubicBezTo>
                    <a:pt x="33" y="52"/>
                    <a:pt x="34" y="53"/>
                    <a:pt x="38" y="53"/>
                  </a:cubicBezTo>
                  <a:cubicBezTo>
                    <a:pt x="43" y="53"/>
                    <a:pt x="44" y="51"/>
                    <a:pt x="44" y="49"/>
                  </a:cubicBezTo>
                  <a:cubicBezTo>
                    <a:pt x="44" y="47"/>
                    <a:pt x="41" y="46"/>
                    <a:pt x="38" y="45"/>
                  </a:cubicBezTo>
                  <a:cubicBezTo>
                    <a:pt x="32" y="43"/>
                    <a:pt x="26" y="41"/>
                    <a:pt x="26" y="32"/>
                  </a:cubicBezTo>
                  <a:cubicBezTo>
                    <a:pt x="26" y="25"/>
                    <a:pt x="31" y="21"/>
                    <a:pt x="37" y="20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6"/>
                    <a:pt x="39" y="15"/>
                    <a:pt x="40" y="15"/>
                  </a:cubicBezTo>
                  <a:cubicBezTo>
                    <a:pt x="42" y="15"/>
                    <a:pt x="43" y="16"/>
                    <a:pt x="43" y="18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6" y="21"/>
                    <a:pt x="48" y="21"/>
                    <a:pt x="50" y="22"/>
                  </a:cubicBezTo>
                  <a:cubicBezTo>
                    <a:pt x="52" y="23"/>
                    <a:pt x="53" y="24"/>
                    <a:pt x="53" y="26"/>
                  </a:cubicBezTo>
                  <a:cubicBezTo>
                    <a:pt x="53" y="29"/>
                    <a:pt x="51" y="31"/>
                    <a:pt x="47" y="30"/>
                  </a:cubicBezTo>
                  <a:cubicBezTo>
                    <a:pt x="45" y="29"/>
                    <a:pt x="43" y="28"/>
                    <a:pt x="41" y="28"/>
                  </a:cubicBezTo>
                  <a:cubicBezTo>
                    <a:pt x="37" y="28"/>
                    <a:pt x="36" y="30"/>
                    <a:pt x="36" y="31"/>
                  </a:cubicBezTo>
                  <a:cubicBezTo>
                    <a:pt x="36" y="34"/>
                    <a:pt x="39" y="35"/>
                    <a:pt x="42" y="36"/>
                  </a:cubicBezTo>
                  <a:cubicBezTo>
                    <a:pt x="48" y="38"/>
                    <a:pt x="54" y="40"/>
                    <a:pt x="54" y="49"/>
                  </a:cubicBezTo>
                  <a:cubicBezTo>
                    <a:pt x="54" y="56"/>
                    <a:pt x="50" y="60"/>
                    <a:pt x="43" y="61"/>
                  </a:cubicBezTo>
                  <a:lnTo>
                    <a:pt x="43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007">
                <a:defRPr/>
              </a:pPr>
              <a:endParaRPr lang="en-US" sz="1867" kern="0">
                <a:solidFill>
                  <a:srgbClr val="000000"/>
                </a:solidFill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2C7BABD-F95E-4004-9CF2-2E1A5E309EB7}"/>
              </a:ext>
            </a:extLst>
          </p:cNvPr>
          <p:cNvGrpSpPr/>
          <p:nvPr/>
        </p:nvGrpSpPr>
        <p:grpSpPr>
          <a:xfrm>
            <a:off x="8262053" y="4251089"/>
            <a:ext cx="2550393" cy="897063"/>
            <a:chOff x="6489996" y="2972012"/>
            <a:chExt cx="1422867" cy="500472"/>
          </a:xfrm>
          <a:solidFill>
            <a:schemeClr val="accent1">
              <a:lumMod val="50000"/>
            </a:schemeClr>
          </a:solidFill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595F4B9A-6002-4DDD-80D5-24E01904D514}"/>
                </a:ext>
              </a:extLst>
            </p:cNvPr>
            <p:cNvGrpSpPr/>
            <p:nvPr/>
          </p:nvGrpSpPr>
          <p:grpSpPr>
            <a:xfrm>
              <a:off x="6489996" y="2974599"/>
              <a:ext cx="353781" cy="497653"/>
              <a:chOff x="4262388" y="2841848"/>
              <a:chExt cx="476250" cy="669925"/>
            </a:xfrm>
            <a:grpFill/>
          </p:grpSpPr>
          <p:sp>
            <p:nvSpPr>
              <p:cNvPr id="46" name="Oval 79">
                <a:extLst>
                  <a:ext uri="{FF2B5EF4-FFF2-40B4-BE49-F238E27FC236}">
                    <a16:creationId xmlns:a16="http://schemas.microsoft.com/office/drawing/2014/main" id="{2822387E-33CD-48DE-9679-559FAD154D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71925" y="2841848"/>
                <a:ext cx="255588" cy="2555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:mc="http://schemas.openxmlformats.org/markup-compatibility/2006" xmlns:p14="http://schemas.microsoft.com/office/powerpoint/2010/main" xmlns:a16="http://schemas.microsoft.com/office/drawing/2014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007">
                  <a:defRPr/>
                </a:pPr>
                <a:endParaRPr lang="en-US" sz="1867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Freeform 80">
                <a:extLst>
                  <a:ext uri="{FF2B5EF4-FFF2-40B4-BE49-F238E27FC236}">
                    <a16:creationId xmlns:a16="http://schemas.microsoft.com/office/drawing/2014/main" id="{5D86D273-428A-4395-9E1D-8CBBBEEA7A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62388" y="3097436"/>
                <a:ext cx="476250" cy="414337"/>
              </a:xfrm>
              <a:custGeom>
                <a:avLst/>
                <a:gdLst>
                  <a:gd name="T0" fmla="*/ 88 w 121"/>
                  <a:gd name="T1" fmla="*/ 0 h 105"/>
                  <a:gd name="T2" fmla="*/ 61 w 121"/>
                  <a:gd name="T3" fmla="*/ 10 h 105"/>
                  <a:gd name="T4" fmla="*/ 33 w 121"/>
                  <a:gd name="T5" fmla="*/ 0 h 105"/>
                  <a:gd name="T6" fmla="*/ 0 w 121"/>
                  <a:gd name="T7" fmla="*/ 72 h 105"/>
                  <a:gd name="T8" fmla="*/ 5 w 121"/>
                  <a:gd name="T9" fmla="*/ 105 h 105"/>
                  <a:gd name="T10" fmla="*/ 7 w 121"/>
                  <a:gd name="T11" fmla="*/ 105 h 105"/>
                  <a:gd name="T12" fmla="*/ 114 w 121"/>
                  <a:gd name="T13" fmla="*/ 105 h 105"/>
                  <a:gd name="T14" fmla="*/ 116 w 121"/>
                  <a:gd name="T15" fmla="*/ 105 h 105"/>
                  <a:gd name="T16" fmla="*/ 121 w 121"/>
                  <a:gd name="T17" fmla="*/ 72 h 105"/>
                  <a:gd name="T18" fmla="*/ 88 w 121"/>
                  <a:gd name="T19" fmla="*/ 0 h 105"/>
                  <a:gd name="T20" fmla="*/ 97 w 121"/>
                  <a:gd name="T21" fmla="*/ 50 h 105"/>
                  <a:gd name="T22" fmla="*/ 79 w 121"/>
                  <a:gd name="T23" fmla="*/ 70 h 105"/>
                  <a:gd name="T24" fmla="*/ 63 w 121"/>
                  <a:gd name="T25" fmla="*/ 51 h 105"/>
                  <a:gd name="T26" fmla="*/ 62 w 121"/>
                  <a:gd name="T27" fmla="*/ 50 h 105"/>
                  <a:gd name="T28" fmla="*/ 61 w 121"/>
                  <a:gd name="T29" fmla="*/ 50 h 105"/>
                  <a:gd name="T30" fmla="*/ 61 w 121"/>
                  <a:gd name="T31" fmla="*/ 50 h 105"/>
                  <a:gd name="T32" fmla="*/ 59 w 121"/>
                  <a:gd name="T33" fmla="*/ 42 h 105"/>
                  <a:gd name="T34" fmla="*/ 72 w 121"/>
                  <a:gd name="T35" fmla="*/ 30 h 105"/>
                  <a:gd name="T36" fmla="*/ 79 w 121"/>
                  <a:gd name="T37" fmla="*/ 33 h 105"/>
                  <a:gd name="T38" fmla="*/ 87 w 121"/>
                  <a:gd name="T39" fmla="*/ 30 h 105"/>
                  <a:gd name="T40" fmla="*/ 99 w 121"/>
                  <a:gd name="T41" fmla="*/ 42 h 105"/>
                  <a:gd name="T42" fmla="*/ 97 w 121"/>
                  <a:gd name="T43" fmla="*/ 5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21" h="105">
                    <a:moveTo>
                      <a:pt x="88" y="0"/>
                    </a:moveTo>
                    <a:cubicBezTo>
                      <a:pt x="81" y="6"/>
                      <a:pt x="71" y="10"/>
                      <a:pt x="61" y="10"/>
                    </a:cubicBezTo>
                    <a:cubicBezTo>
                      <a:pt x="50" y="10"/>
                      <a:pt x="40" y="6"/>
                      <a:pt x="33" y="0"/>
                    </a:cubicBezTo>
                    <a:cubicBezTo>
                      <a:pt x="15" y="0"/>
                      <a:pt x="0" y="29"/>
                      <a:pt x="0" y="72"/>
                    </a:cubicBezTo>
                    <a:cubicBezTo>
                      <a:pt x="0" y="93"/>
                      <a:pt x="5" y="105"/>
                      <a:pt x="5" y="105"/>
                    </a:cubicBezTo>
                    <a:cubicBezTo>
                      <a:pt x="7" y="105"/>
                      <a:pt x="7" y="105"/>
                      <a:pt x="7" y="105"/>
                    </a:cubicBezTo>
                    <a:cubicBezTo>
                      <a:pt x="114" y="105"/>
                      <a:pt x="114" y="105"/>
                      <a:pt x="114" y="105"/>
                    </a:cubicBezTo>
                    <a:cubicBezTo>
                      <a:pt x="116" y="105"/>
                      <a:pt x="116" y="105"/>
                      <a:pt x="116" y="105"/>
                    </a:cubicBezTo>
                    <a:cubicBezTo>
                      <a:pt x="116" y="105"/>
                      <a:pt x="121" y="93"/>
                      <a:pt x="121" y="72"/>
                    </a:cubicBezTo>
                    <a:cubicBezTo>
                      <a:pt x="121" y="29"/>
                      <a:pt x="106" y="0"/>
                      <a:pt x="88" y="0"/>
                    </a:cubicBezTo>
                    <a:close/>
                    <a:moveTo>
                      <a:pt x="97" y="50"/>
                    </a:moveTo>
                    <a:cubicBezTo>
                      <a:pt x="79" y="70"/>
                      <a:pt x="79" y="70"/>
                      <a:pt x="79" y="70"/>
                    </a:cubicBezTo>
                    <a:cubicBezTo>
                      <a:pt x="63" y="51"/>
                      <a:pt x="63" y="51"/>
                      <a:pt x="63" y="51"/>
                    </a:cubicBezTo>
                    <a:cubicBezTo>
                      <a:pt x="62" y="51"/>
                      <a:pt x="62" y="50"/>
                      <a:pt x="62" y="50"/>
                    </a:cubicBezTo>
                    <a:cubicBezTo>
                      <a:pt x="61" y="50"/>
                      <a:pt x="61" y="50"/>
                      <a:pt x="61" y="50"/>
                    </a:cubicBezTo>
                    <a:cubicBezTo>
                      <a:pt x="61" y="50"/>
                      <a:pt x="61" y="50"/>
                      <a:pt x="61" y="50"/>
                    </a:cubicBezTo>
                    <a:cubicBezTo>
                      <a:pt x="60" y="48"/>
                      <a:pt x="59" y="45"/>
                      <a:pt x="59" y="42"/>
                    </a:cubicBezTo>
                    <a:cubicBezTo>
                      <a:pt x="59" y="36"/>
                      <a:pt x="65" y="30"/>
                      <a:pt x="72" y="30"/>
                    </a:cubicBezTo>
                    <a:cubicBezTo>
                      <a:pt x="74" y="30"/>
                      <a:pt x="77" y="32"/>
                      <a:pt x="79" y="33"/>
                    </a:cubicBezTo>
                    <a:cubicBezTo>
                      <a:pt x="81" y="32"/>
                      <a:pt x="84" y="30"/>
                      <a:pt x="87" y="30"/>
                    </a:cubicBezTo>
                    <a:cubicBezTo>
                      <a:pt x="94" y="30"/>
                      <a:pt x="99" y="36"/>
                      <a:pt x="99" y="42"/>
                    </a:cubicBezTo>
                    <a:cubicBezTo>
                      <a:pt x="99" y="45"/>
                      <a:pt x="98" y="48"/>
                      <a:pt x="97" y="50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mc="http://schemas.openxmlformats.org/markup-compatibility/2006" xmlns:p14="http://schemas.microsoft.com/office/powerpoint/2010/main" xmlns:a16="http://schemas.microsoft.com/office/drawing/2014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007">
                  <a:defRPr/>
                </a:pPr>
                <a:endParaRPr lang="en-US" sz="1867" ker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8025CF8C-5599-47E9-8648-6E056ABDED75}"/>
                </a:ext>
              </a:extLst>
            </p:cNvPr>
            <p:cNvGrpSpPr/>
            <p:nvPr/>
          </p:nvGrpSpPr>
          <p:grpSpPr>
            <a:xfrm>
              <a:off x="7024453" y="2972012"/>
              <a:ext cx="353781" cy="500010"/>
              <a:chOff x="5210125" y="2838673"/>
              <a:chExt cx="476250" cy="673100"/>
            </a:xfrm>
            <a:grpFill/>
          </p:grpSpPr>
          <p:sp>
            <p:nvSpPr>
              <p:cNvPr id="43" name="Oval 81">
                <a:extLst>
                  <a:ext uri="{FF2B5EF4-FFF2-40B4-BE49-F238E27FC236}">
                    <a16:creationId xmlns:a16="http://schemas.microsoft.com/office/drawing/2014/main" id="{77EDC275-6E04-49B3-B496-A130456C01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6488" y="2838673"/>
                <a:ext cx="260350" cy="255587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mc="http://schemas.openxmlformats.org/markup-compatibility/2006" xmlns:p14="http://schemas.microsoft.com/office/powerpoint/2010/main" xmlns:a16="http://schemas.microsoft.com/office/drawing/2014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007">
                  <a:defRPr/>
                </a:pPr>
                <a:endParaRPr lang="en-US" sz="1867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82">
                <a:extLst>
                  <a:ext uri="{FF2B5EF4-FFF2-40B4-BE49-F238E27FC236}">
                    <a16:creationId xmlns:a16="http://schemas.microsoft.com/office/drawing/2014/main" id="{A2555CFA-4666-4C9D-8342-556F441851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3163" y="3121248"/>
                <a:ext cx="125413" cy="158750"/>
              </a:xfrm>
              <a:custGeom>
                <a:avLst/>
                <a:gdLst>
                  <a:gd name="T0" fmla="*/ 6 w 32"/>
                  <a:gd name="T1" fmla="*/ 34 h 40"/>
                  <a:gd name="T2" fmla="*/ 13 w 32"/>
                  <a:gd name="T3" fmla="*/ 40 h 40"/>
                  <a:gd name="T4" fmla="*/ 20 w 32"/>
                  <a:gd name="T5" fmla="*/ 40 h 40"/>
                  <a:gd name="T6" fmla="*/ 26 w 32"/>
                  <a:gd name="T7" fmla="*/ 34 h 40"/>
                  <a:gd name="T8" fmla="*/ 26 w 32"/>
                  <a:gd name="T9" fmla="*/ 34 h 40"/>
                  <a:gd name="T10" fmla="*/ 32 w 32"/>
                  <a:gd name="T11" fmla="*/ 0 h 40"/>
                  <a:gd name="T12" fmla="*/ 16 w 32"/>
                  <a:gd name="T13" fmla="*/ 4 h 40"/>
                  <a:gd name="T14" fmla="*/ 0 w 32"/>
                  <a:gd name="T15" fmla="*/ 0 h 40"/>
                  <a:gd name="T16" fmla="*/ 6 w 32"/>
                  <a:gd name="T17" fmla="*/ 3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40">
                    <a:moveTo>
                      <a:pt x="6" y="34"/>
                    </a:moveTo>
                    <a:cubicBezTo>
                      <a:pt x="7" y="38"/>
                      <a:pt x="10" y="39"/>
                      <a:pt x="13" y="40"/>
                    </a:cubicBezTo>
                    <a:cubicBezTo>
                      <a:pt x="16" y="40"/>
                      <a:pt x="20" y="40"/>
                      <a:pt x="20" y="40"/>
                    </a:cubicBezTo>
                    <a:cubicBezTo>
                      <a:pt x="25" y="39"/>
                      <a:pt x="26" y="35"/>
                      <a:pt x="26" y="34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7" y="2"/>
                      <a:pt x="22" y="4"/>
                      <a:pt x="16" y="4"/>
                    </a:cubicBezTo>
                    <a:cubicBezTo>
                      <a:pt x="10" y="4"/>
                      <a:pt x="5" y="2"/>
                      <a:pt x="0" y="0"/>
                    </a:cubicBezTo>
                    <a:lnTo>
                      <a:pt x="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:mc="http://schemas.openxmlformats.org/markup-compatibility/2006" xmlns:p14="http://schemas.microsoft.com/office/powerpoint/2010/main" xmlns:a16="http://schemas.microsoft.com/office/drawing/2014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007">
                  <a:defRPr/>
                </a:pPr>
                <a:endParaRPr lang="en-US" sz="1867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83">
                <a:extLst>
                  <a:ext uri="{FF2B5EF4-FFF2-40B4-BE49-F238E27FC236}">
                    <a16:creationId xmlns:a16="http://schemas.microsoft.com/office/drawing/2014/main" id="{1E56B9A7-72DB-4956-841A-25E557397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125" y="3094261"/>
                <a:ext cx="476250" cy="417512"/>
              </a:xfrm>
              <a:custGeom>
                <a:avLst/>
                <a:gdLst>
                  <a:gd name="T0" fmla="*/ 88 w 121"/>
                  <a:gd name="T1" fmla="*/ 0 h 106"/>
                  <a:gd name="T2" fmla="*/ 87 w 121"/>
                  <a:gd name="T3" fmla="*/ 1 h 106"/>
                  <a:gd name="T4" fmla="*/ 79 w 121"/>
                  <a:gd name="T5" fmla="*/ 42 h 106"/>
                  <a:gd name="T6" fmla="*/ 65 w 121"/>
                  <a:gd name="T7" fmla="*/ 56 h 106"/>
                  <a:gd name="T8" fmla="*/ 65 w 121"/>
                  <a:gd name="T9" fmla="*/ 75 h 106"/>
                  <a:gd name="T10" fmla="*/ 71 w 121"/>
                  <a:gd name="T11" fmla="*/ 85 h 106"/>
                  <a:gd name="T12" fmla="*/ 60 w 121"/>
                  <a:gd name="T13" fmla="*/ 96 h 106"/>
                  <a:gd name="T14" fmla="*/ 49 w 121"/>
                  <a:gd name="T15" fmla="*/ 85 h 106"/>
                  <a:gd name="T16" fmla="*/ 56 w 121"/>
                  <a:gd name="T17" fmla="*/ 75 h 106"/>
                  <a:gd name="T18" fmla="*/ 56 w 121"/>
                  <a:gd name="T19" fmla="*/ 56 h 106"/>
                  <a:gd name="T20" fmla="*/ 41 w 121"/>
                  <a:gd name="T21" fmla="*/ 42 h 106"/>
                  <a:gd name="T22" fmla="*/ 34 w 121"/>
                  <a:gd name="T23" fmla="*/ 1 h 106"/>
                  <a:gd name="T24" fmla="*/ 32 w 121"/>
                  <a:gd name="T25" fmla="*/ 0 h 106"/>
                  <a:gd name="T26" fmla="*/ 0 w 121"/>
                  <a:gd name="T27" fmla="*/ 73 h 106"/>
                  <a:gd name="T28" fmla="*/ 4 w 121"/>
                  <a:gd name="T29" fmla="*/ 106 h 106"/>
                  <a:gd name="T30" fmla="*/ 6 w 121"/>
                  <a:gd name="T31" fmla="*/ 106 h 106"/>
                  <a:gd name="T32" fmla="*/ 114 w 121"/>
                  <a:gd name="T33" fmla="*/ 106 h 106"/>
                  <a:gd name="T34" fmla="*/ 116 w 121"/>
                  <a:gd name="T35" fmla="*/ 106 h 106"/>
                  <a:gd name="T36" fmla="*/ 121 w 121"/>
                  <a:gd name="T37" fmla="*/ 73 h 106"/>
                  <a:gd name="T38" fmla="*/ 88 w 121"/>
                  <a:gd name="T39" fmla="*/ 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1" h="106">
                    <a:moveTo>
                      <a:pt x="88" y="0"/>
                    </a:moveTo>
                    <a:cubicBezTo>
                      <a:pt x="88" y="1"/>
                      <a:pt x="87" y="1"/>
                      <a:pt x="87" y="1"/>
                    </a:cubicBezTo>
                    <a:cubicBezTo>
                      <a:pt x="79" y="42"/>
                      <a:pt x="79" y="42"/>
                      <a:pt x="79" y="42"/>
                    </a:cubicBezTo>
                    <a:cubicBezTo>
                      <a:pt x="78" y="50"/>
                      <a:pt x="73" y="55"/>
                      <a:pt x="65" y="56"/>
                    </a:cubicBezTo>
                    <a:cubicBezTo>
                      <a:pt x="65" y="75"/>
                      <a:pt x="65" y="75"/>
                      <a:pt x="65" y="75"/>
                    </a:cubicBezTo>
                    <a:cubicBezTo>
                      <a:pt x="68" y="77"/>
                      <a:pt x="71" y="81"/>
                      <a:pt x="71" y="85"/>
                    </a:cubicBezTo>
                    <a:cubicBezTo>
                      <a:pt x="71" y="91"/>
                      <a:pt x="66" y="96"/>
                      <a:pt x="60" y="96"/>
                    </a:cubicBezTo>
                    <a:cubicBezTo>
                      <a:pt x="54" y="96"/>
                      <a:pt x="49" y="91"/>
                      <a:pt x="49" y="85"/>
                    </a:cubicBezTo>
                    <a:cubicBezTo>
                      <a:pt x="49" y="81"/>
                      <a:pt x="52" y="77"/>
                      <a:pt x="56" y="75"/>
                    </a:cubicBezTo>
                    <a:cubicBezTo>
                      <a:pt x="56" y="56"/>
                      <a:pt x="56" y="56"/>
                      <a:pt x="56" y="56"/>
                    </a:cubicBezTo>
                    <a:cubicBezTo>
                      <a:pt x="48" y="55"/>
                      <a:pt x="42" y="50"/>
                      <a:pt x="41" y="42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3" y="1"/>
                      <a:pt x="33" y="1"/>
                      <a:pt x="32" y="0"/>
                    </a:cubicBezTo>
                    <a:cubicBezTo>
                      <a:pt x="15" y="0"/>
                      <a:pt x="0" y="29"/>
                      <a:pt x="0" y="73"/>
                    </a:cubicBezTo>
                    <a:cubicBezTo>
                      <a:pt x="0" y="94"/>
                      <a:pt x="4" y="106"/>
                      <a:pt x="4" y="106"/>
                    </a:cubicBezTo>
                    <a:cubicBezTo>
                      <a:pt x="6" y="106"/>
                      <a:pt x="6" y="106"/>
                      <a:pt x="6" y="106"/>
                    </a:cubicBezTo>
                    <a:cubicBezTo>
                      <a:pt x="114" y="106"/>
                      <a:pt x="114" y="106"/>
                      <a:pt x="114" y="106"/>
                    </a:cubicBezTo>
                    <a:cubicBezTo>
                      <a:pt x="116" y="106"/>
                      <a:pt x="116" y="106"/>
                      <a:pt x="116" y="106"/>
                    </a:cubicBezTo>
                    <a:cubicBezTo>
                      <a:pt x="116" y="106"/>
                      <a:pt x="121" y="94"/>
                      <a:pt x="121" y="73"/>
                    </a:cubicBezTo>
                    <a:cubicBezTo>
                      <a:pt x="121" y="29"/>
                      <a:pt x="106" y="0"/>
                      <a:pt x="88" y="0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mc="http://schemas.openxmlformats.org/markup-compatibility/2006" xmlns:p14="http://schemas.microsoft.com/office/powerpoint/2010/main" xmlns:a16="http://schemas.microsoft.com/office/drawing/2014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007">
                  <a:defRPr/>
                </a:pPr>
                <a:endParaRPr lang="en-US" sz="1867" ker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12E7AC48-5E47-4F18-93CC-E8995806768F}"/>
                </a:ext>
              </a:extLst>
            </p:cNvPr>
            <p:cNvGrpSpPr/>
            <p:nvPr/>
          </p:nvGrpSpPr>
          <p:grpSpPr>
            <a:xfrm>
              <a:off x="7564978" y="2977190"/>
              <a:ext cx="347885" cy="495294"/>
              <a:chOff x="2397075" y="2845023"/>
              <a:chExt cx="468313" cy="666750"/>
            </a:xfrm>
            <a:grpFill/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479A396F-C306-4B06-B59A-E131711797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3438" y="2845023"/>
                <a:ext cx="255588" cy="257175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mc="http://schemas.openxmlformats.org/markup-compatibility/2006" xmlns:p14="http://schemas.microsoft.com/office/powerpoint/2010/main" xmlns:a16="http://schemas.microsoft.com/office/drawing/2014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007">
                  <a:defRPr/>
                </a:pPr>
                <a:endParaRPr lang="en-US" sz="1867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83">
                <a:extLst>
                  <a:ext uri="{FF2B5EF4-FFF2-40B4-BE49-F238E27FC236}">
                    <a16:creationId xmlns:a16="http://schemas.microsoft.com/office/drawing/2014/main" id="{5D633BFD-A680-42CD-96EF-38164E8927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7075" y="3102198"/>
                <a:ext cx="468313" cy="409575"/>
              </a:xfrm>
              <a:custGeom>
                <a:avLst/>
                <a:gdLst>
                  <a:gd name="T0" fmla="*/ 87 w 119"/>
                  <a:gd name="T1" fmla="*/ 0 h 104"/>
                  <a:gd name="T2" fmla="*/ 59 w 119"/>
                  <a:gd name="T3" fmla="*/ 10 h 104"/>
                  <a:gd name="T4" fmla="*/ 32 w 119"/>
                  <a:gd name="T5" fmla="*/ 0 h 104"/>
                  <a:gd name="T6" fmla="*/ 0 w 119"/>
                  <a:gd name="T7" fmla="*/ 71 h 104"/>
                  <a:gd name="T8" fmla="*/ 4 w 119"/>
                  <a:gd name="T9" fmla="*/ 104 h 104"/>
                  <a:gd name="T10" fmla="*/ 6 w 119"/>
                  <a:gd name="T11" fmla="*/ 104 h 104"/>
                  <a:gd name="T12" fmla="*/ 113 w 119"/>
                  <a:gd name="T13" fmla="*/ 104 h 104"/>
                  <a:gd name="T14" fmla="*/ 115 w 119"/>
                  <a:gd name="T15" fmla="*/ 104 h 104"/>
                  <a:gd name="T16" fmla="*/ 119 w 119"/>
                  <a:gd name="T17" fmla="*/ 71 h 104"/>
                  <a:gd name="T18" fmla="*/ 87 w 119"/>
                  <a:gd name="T19" fmla="*/ 0 h 104"/>
                  <a:gd name="T20" fmla="*/ 99 w 119"/>
                  <a:gd name="T21" fmla="*/ 52 h 104"/>
                  <a:gd name="T22" fmla="*/ 83 w 119"/>
                  <a:gd name="T23" fmla="*/ 52 h 104"/>
                  <a:gd name="T24" fmla="*/ 83 w 119"/>
                  <a:gd name="T25" fmla="*/ 69 h 104"/>
                  <a:gd name="T26" fmla="*/ 73 w 119"/>
                  <a:gd name="T27" fmla="*/ 69 h 104"/>
                  <a:gd name="T28" fmla="*/ 73 w 119"/>
                  <a:gd name="T29" fmla="*/ 52 h 104"/>
                  <a:gd name="T30" fmla="*/ 56 w 119"/>
                  <a:gd name="T31" fmla="*/ 52 h 104"/>
                  <a:gd name="T32" fmla="*/ 56 w 119"/>
                  <a:gd name="T33" fmla="*/ 42 h 104"/>
                  <a:gd name="T34" fmla="*/ 73 w 119"/>
                  <a:gd name="T35" fmla="*/ 42 h 104"/>
                  <a:gd name="T36" fmla="*/ 73 w 119"/>
                  <a:gd name="T37" fmla="*/ 26 h 104"/>
                  <a:gd name="T38" fmla="*/ 83 w 119"/>
                  <a:gd name="T39" fmla="*/ 26 h 104"/>
                  <a:gd name="T40" fmla="*/ 83 w 119"/>
                  <a:gd name="T41" fmla="*/ 42 h 104"/>
                  <a:gd name="T42" fmla="*/ 99 w 119"/>
                  <a:gd name="T43" fmla="*/ 42 h 104"/>
                  <a:gd name="T44" fmla="*/ 99 w 119"/>
                  <a:gd name="T45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9" h="104">
                    <a:moveTo>
                      <a:pt x="87" y="0"/>
                    </a:moveTo>
                    <a:cubicBezTo>
                      <a:pt x="80" y="6"/>
                      <a:pt x="70" y="10"/>
                      <a:pt x="59" y="10"/>
                    </a:cubicBezTo>
                    <a:cubicBezTo>
                      <a:pt x="49" y="10"/>
                      <a:pt x="39" y="6"/>
                      <a:pt x="32" y="0"/>
                    </a:cubicBezTo>
                    <a:cubicBezTo>
                      <a:pt x="15" y="0"/>
                      <a:pt x="0" y="28"/>
                      <a:pt x="0" y="71"/>
                    </a:cubicBezTo>
                    <a:cubicBezTo>
                      <a:pt x="0" y="92"/>
                      <a:pt x="4" y="104"/>
                      <a:pt x="4" y="104"/>
                    </a:cubicBezTo>
                    <a:cubicBezTo>
                      <a:pt x="6" y="104"/>
                      <a:pt x="6" y="104"/>
                      <a:pt x="6" y="104"/>
                    </a:cubicBezTo>
                    <a:cubicBezTo>
                      <a:pt x="113" y="104"/>
                      <a:pt x="113" y="104"/>
                      <a:pt x="113" y="104"/>
                    </a:cubicBezTo>
                    <a:cubicBezTo>
                      <a:pt x="115" y="104"/>
                      <a:pt x="115" y="104"/>
                      <a:pt x="115" y="104"/>
                    </a:cubicBezTo>
                    <a:cubicBezTo>
                      <a:pt x="115" y="104"/>
                      <a:pt x="119" y="92"/>
                      <a:pt x="119" y="71"/>
                    </a:cubicBezTo>
                    <a:cubicBezTo>
                      <a:pt x="119" y="28"/>
                      <a:pt x="104" y="0"/>
                      <a:pt x="87" y="0"/>
                    </a:cubicBezTo>
                    <a:close/>
                    <a:moveTo>
                      <a:pt x="99" y="52"/>
                    </a:moveTo>
                    <a:cubicBezTo>
                      <a:pt x="83" y="52"/>
                      <a:pt x="83" y="52"/>
                      <a:pt x="83" y="52"/>
                    </a:cubicBezTo>
                    <a:cubicBezTo>
                      <a:pt x="83" y="69"/>
                      <a:pt x="83" y="69"/>
                      <a:pt x="83" y="69"/>
                    </a:cubicBezTo>
                    <a:cubicBezTo>
                      <a:pt x="73" y="69"/>
                      <a:pt x="73" y="69"/>
                      <a:pt x="73" y="69"/>
                    </a:cubicBezTo>
                    <a:cubicBezTo>
                      <a:pt x="73" y="52"/>
                      <a:pt x="73" y="52"/>
                      <a:pt x="73" y="52"/>
                    </a:cubicBezTo>
                    <a:cubicBezTo>
                      <a:pt x="56" y="52"/>
                      <a:pt x="56" y="52"/>
                      <a:pt x="56" y="52"/>
                    </a:cubicBezTo>
                    <a:cubicBezTo>
                      <a:pt x="56" y="42"/>
                      <a:pt x="56" y="42"/>
                      <a:pt x="56" y="42"/>
                    </a:cubicBezTo>
                    <a:cubicBezTo>
                      <a:pt x="73" y="42"/>
                      <a:pt x="73" y="42"/>
                      <a:pt x="73" y="42"/>
                    </a:cubicBezTo>
                    <a:cubicBezTo>
                      <a:pt x="73" y="26"/>
                      <a:pt x="73" y="26"/>
                      <a:pt x="73" y="26"/>
                    </a:cubicBezTo>
                    <a:cubicBezTo>
                      <a:pt x="83" y="26"/>
                      <a:pt x="83" y="26"/>
                      <a:pt x="83" y="26"/>
                    </a:cubicBezTo>
                    <a:cubicBezTo>
                      <a:pt x="83" y="42"/>
                      <a:pt x="83" y="42"/>
                      <a:pt x="83" y="42"/>
                    </a:cubicBezTo>
                    <a:cubicBezTo>
                      <a:pt x="99" y="42"/>
                      <a:pt x="99" y="42"/>
                      <a:pt x="99" y="42"/>
                    </a:cubicBezTo>
                    <a:lnTo>
                      <a:pt x="99" y="52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mc="http://schemas.openxmlformats.org/markup-compatibility/2006" xmlns:p14="http://schemas.microsoft.com/office/powerpoint/2010/main" xmlns:a16="http://schemas.microsoft.com/office/drawing/2014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007">
                  <a:defRPr/>
                </a:pPr>
                <a:endParaRPr lang="en-US" sz="1867" kern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C77F33E5-DD15-4F03-94B7-D909A720798E}"/>
              </a:ext>
            </a:extLst>
          </p:cNvPr>
          <p:cNvSpPr txBox="1"/>
          <p:nvPr/>
        </p:nvSpPr>
        <p:spPr>
          <a:xfrm>
            <a:off x="670181" y="3285529"/>
            <a:ext cx="6096000" cy="5436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933" dirty="0">
                <a:solidFill>
                  <a:schemeClr val="bg1"/>
                </a:solidFill>
                <a:latin typeface="Calibri" panose="020F0502020204030204" pitchFamily="34" charset="0"/>
                <a:cs typeface="Calibri" charset="0"/>
              </a:rPr>
              <a:t>Leveraging process mining</a:t>
            </a:r>
          </a:p>
        </p:txBody>
      </p:sp>
      <p:pic>
        <p:nvPicPr>
          <p:cNvPr id="49" name="Picture 12" descr="Cloud Icon | Flatastic 11 Iconset | Custom Icon Design">
            <a:extLst>
              <a:ext uri="{FF2B5EF4-FFF2-40B4-BE49-F238E27FC236}">
                <a16:creationId xmlns:a16="http://schemas.microsoft.com/office/drawing/2014/main" id="{83663B79-7DE6-4C9F-AFF9-435A9793AD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2515" y="2480327"/>
            <a:ext cx="737424" cy="73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BE3F9CD3-C1BB-4B33-8A8C-8F4F647C86A4}"/>
              </a:ext>
            </a:extLst>
          </p:cNvPr>
          <p:cNvSpPr txBox="1"/>
          <p:nvPr/>
        </p:nvSpPr>
        <p:spPr>
          <a:xfrm>
            <a:off x="246845" y="3722381"/>
            <a:ext cx="6764094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efficiencies are reflected in the event log of the system as recurring patterns of log entries. </a:t>
            </a:r>
          </a:p>
          <a:p>
            <a:pPr marL="457200" marR="0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nce identified, they can be resolved over time by modifications to the enterprise system and presented as “Hints” on the UI.</a:t>
            </a:r>
          </a:p>
          <a:p>
            <a:pPr marL="457200" marR="0">
              <a:spcBef>
                <a:spcPts val="0"/>
              </a:spcBef>
              <a:spcAft>
                <a:spcPts val="0"/>
              </a:spcAft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26336B0-AF1F-410F-A995-7248197F4474}"/>
              </a:ext>
            </a:extLst>
          </p:cNvPr>
          <p:cNvSpPr txBox="1"/>
          <p:nvPr/>
        </p:nvSpPr>
        <p:spPr>
          <a:xfrm>
            <a:off x="7990950" y="1410067"/>
            <a:ext cx="3832622" cy="5436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933" dirty="0">
                <a:solidFill>
                  <a:schemeClr val="bg1"/>
                </a:solidFill>
                <a:latin typeface="Calibri" panose="020F0502020204030204" pitchFamily="34" charset="0"/>
                <a:cs typeface="Calibri" charset="0"/>
              </a:rPr>
              <a:t>Inefficient Performanc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FA70CBC-5F90-408A-9376-3FC626E5668F}"/>
              </a:ext>
            </a:extLst>
          </p:cNvPr>
          <p:cNvSpPr/>
          <p:nvPr/>
        </p:nvSpPr>
        <p:spPr>
          <a:xfrm>
            <a:off x="670182" y="5449197"/>
            <a:ext cx="11077414" cy="106657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219007">
              <a:defRPr/>
            </a:pPr>
            <a:r>
              <a:rPr lang="en-US" sz="2933" dirty="0">
                <a:solidFill>
                  <a:schemeClr val="bg1"/>
                </a:solidFill>
                <a:latin typeface="Calibri" panose="020F0502020204030204" pitchFamily="34" charset="0"/>
                <a:cs typeface="Calibri" charset="0"/>
              </a:rPr>
              <a:t>Objective Solution</a:t>
            </a:r>
          </a:p>
          <a:p>
            <a:pPr defTabSz="1219007">
              <a:defRPr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charset="0"/>
              </a:rPr>
              <a:t>We propose an approach for identifying inefficient workarounds by mining the related </a:t>
            </a:r>
            <a:b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charset="0"/>
              </a:rPr>
            </a:b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charset="0"/>
              </a:rPr>
              <a:t>patterns in an event log.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7AD98911-9175-47D4-A26B-9A1443F6EE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74993" y="5661373"/>
            <a:ext cx="746825" cy="647756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714229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" name="Straight Arrow Connector 9">
            <a:extLst>
              <a:ext uri="{FF2B5EF4-FFF2-40B4-BE49-F238E27FC236}">
                <a16:creationId xmlns:a16="http://schemas.microsoft.com/office/drawing/2014/main" id="{23643390-0C8E-439F-B4BD-81228E4156D3}"/>
              </a:ext>
            </a:extLst>
          </p:cNvPr>
          <p:cNvCxnSpPr>
            <a:cxnSpLocks/>
          </p:cNvCxnSpPr>
          <p:nvPr/>
        </p:nvCxnSpPr>
        <p:spPr>
          <a:xfrm flipV="1">
            <a:off x="4333145" y="3329151"/>
            <a:ext cx="7694118" cy="1575406"/>
          </a:xfrm>
          <a:prstGeom prst="bentConnector3">
            <a:avLst>
              <a:gd name="adj1" fmla="val 100040"/>
            </a:avLst>
          </a:prstGeom>
          <a:ln w="41275">
            <a:solidFill>
              <a:srgbClr val="E39BB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9">
            <a:extLst>
              <a:ext uri="{FF2B5EF4-FFF2-40B4-BE49-F238E27FC236}">
                <a16:creationId xmlns:a16="http://schemas.microsoft.com/office/drawing/2014/main" id="{A01A5125-5748-4EE3-821C-1EC7B859675A}"/>
              </a:ext>
            </a:extLst>
          </p:cNvPr>
          <p:cNvCxnSpPr>
            <a:cxnSpLocks/>
          </p:cNvCxnSpPr>
          <p:nvPr/>
        </p:nvCxnSpPr>
        <p:spPr>
          <a:xfrm>
            <a:off x="509458" y="3689284"/>
            <a:ext cx="11188504" cy="1205035"/>
          </a:xfrm>
          <a:prstGeom prst="bentConnector3">
            <a:avLst>
              <a:gd name="adj1" fmla="val 33977"/>
            </a:avLst>
          </a:prstGeom>
          <a:ln w="41275">
            <a:solidFill>
              <a:srgbClr val="E39BB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F1DEA5-8862-44FC-A83F-7B2CF55D7B4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87B825-6F43-42CF-B3D6-01AB8E169CD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F804A5-31AD-4628-91EB-FD38D6EB92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163908-529D-4A49-892F-D37C4044DFD8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4F5A90-21F9-4C77-AC98-C95DBE63F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9"/>
            <a:ext cx="10031916" cy="576083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he Soluti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08731CA-B4EF-4A00-B494-788701B5D72B}"/>
              </a:ext>
            </a:extLst>
          </p:cNvPr>
          <p:cNvSpPr txBox="1">
            <a:spLocks/>
          </p:cNvSpPr>
          <p:nvPr/>
        </p:nvSpPr>
        <p:spPr>
          <a:xfrm>
            <a:off x="673102" y="1251344"/>
            <a:ext cx="10095513" cy="4614333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>
            <a:lvl1pPr marL="215895" indent="-215895" algn="l" defTabSz="121913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867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6709" indent="-182875" algn="l" defTabSz="121913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10" indent="-143930" algn="l" defTabSz="121913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US" sz="13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460" indent="-182875" algn="l" defTabSz="121913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3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5543" indent="-143930" algn="l" defTabSz="121913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IN" sz="13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632" indent="-304784" algn="l" defTabSz="1219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indent="-304784" algn="l" defTabSz="1219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/>
            <a:endParaRPr lang="en-US" sz="1800" dirty="0">
              <a:latin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18DD5D9-9F0A-4EA8-BB2B-520865A8AFC6}"/>
              </a:ext>
            </a:extLst>
          </p:cNvPr>
          <p:cNvSpPr txBox="1"/>
          <p:nvPr/>
        </p:nvSpPr>
        <p:spPr>
          <a:xfrm>
            <a:off x="673102" y="1133356"/>
            <a:ext cx="11499026" cy="62786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u="sng" dirty="0">
                <a:latin typeface="Calibri" panose="020F0502020204030204" pitchFamily="34" charset="0"/>
              </a:rPr>
              <a:t>Objective Problem Analyses: </a:t>
            </a:r>
          </a:p>
          <a:p>
            <a:pPr lvl="1">
              <a:lnSpc>
                <a:spcPct val="150000"/>
              </a:lnSpc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cess mining addresses the problem that most of system admins have </a:t>
            </a:r>
            <a:r>
              <a:rPr lang="en-U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rtial information 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bout what is truly happening, we propose a process mining algorithm for identifying user activities, classifying it as a workflow.</a:t>
            </a:r>
          </a:p>
          <a:p>
            <a:pPr lvl="1">
              <a:lnSpc>
                <a:spcPct val="150000"/>
              </a:lnSpc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>
              <a:lnSpc>
                <a:spcPct val="150000"/>
              </a:lnSpc>
            </a:pP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>
              <a:lnSpc>
                <a:spcPct val="150000"/>
              </a:lnSpc>
            </a:pPr>
            <a:b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2400" u="sng" dirty="0">
                <a:latin typeface="Calibri" panose="020F0502020204030204" pitchFamily="34" charset="0"/>
              </a:rPr>
              <a:t>Identify Efficient User flow:</a:t>
            </a:r>
          </a:p>
          <a:p>
            <a:pPr marL="45720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algorithm compare the workflow of system users to identify inefficiency.</a:t>
            </a:r>
          </a:p>
          <a:p>
            <a:pPr marL="45720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nce inefficiency in a flow was objectively identified by analyzing user’s logs, the system shall presents </a:t>
            </a:r>
            <a:r>
              <a:rPr lang="en-US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ints on the UI 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or users to adopt the most efficient way of work.</a:t>
            </a:r>
            <a:b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sz="2400" dirty="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0BDB85F-DE52-47D3-AB6E-20C6C7D4F221}"/>
              </a:ext>
            </a:extLst>
          </p:cNvPr>
          <p:cNvCxnSpPr>
            <a:cxnSpLocks/>
          </p:cNvCxnSpPr>
          <p:nvPr/>
        </p:nvCxnSpPr>
        <p:spPr>
          <a:xfrm flipV="1">
            <a:off x="494038" y="2695074"/>
            <a:ext cx="11465351" cy="1013526"/>
          </a:xfrm>
          <a:prstGeom prst="bentConnector3">
            <a:avLst>
              <a:gd name="adj1" fmla="val 33210"/>
            </a:avLst>
          </a:prstGeom>
          <a:ln w="41275">
            <a:solidFill>
              <a:srgbClr val="E39BB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A1FACA5-587B-4BF7-A151-5CB2CDF6C1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3382" y="2432751"/>
            <a:ext cx="1593600" cy="8964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79A0891-9042-46CC-8F5D-08A4994990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4582" y="2447244"/>
            <a:ext cx="1600000" cy="900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75944F9-072C-4AE5-A068-002DDEBCAE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6046" y="2447563"/>
            <a:ext cx="1600000" cy="900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A99D2A0-CE31-43EC-90D9-00B97798CAB4}"/>
              </a:ext>
            </a:extLst>
          </p:cNvPr>
          <p:cNvSpPr txBox="1"/>
          <p:nvPr/>
        </p:nvSpPr>
        <p:spPr>
          <a:xfrm>
            <a:off x="8014054" y="3254617"/>
            <a:ext cx="1591331" cy="6734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aa-ET" sz="1000" b="1" dirty="0"/>
              <a:t>Viewing</a:t>
            </a:r>
          </a:p>
          <a:p>
            <a:pPr>
              <a:lnSpc>
                <a:spcPct val="150000"/>
              </a:lnSpc>
            </a:pPr>
            <a:r>
              <a:rPr lang="aa-ET" sz="800" dirty="0"/>
              <a:t>Depending on interest deep-dive into individual studies or read repor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3724B4-07E2-44AD-BB17-C3F21FD3E893}"/>
              </a:ext>
            </a:extLst>
          </p:cNvPr>
          <p:cNvSpPr txBox="1"/>
          <p:nvPr/>
        </p:nvSpPr>
        <p:spPr>
          <a:xfrm>
            <a:off x="4424674" y="3286929"/>
            <a:ext cx="1600000" cy="48878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aa-ET" sz="1000" b="1" dirty="0"/>
              <a:t>Dashboard</a:t>
            </a:r>
          </a:p>
          <a:p>
            <a:pPr>
              <a:lnSpc>
                <a:spcPct val="150000"/>
              </a:lnSpc>
            </a:pPr>
            <a:r>
              <a:rPr lang="aa-ET" sz="800" dirty="0"/>
              <a:t>Review high level patient information</a:t>
            </a:r>
            <a:endParaRPr lang="aa-ET" sz="6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1EF4866-68EF-44E3-8E92-AD69F3221EE7}"/>
              </a:ext>
            </a:extLst>
          </p:cNvPr>
          <p:cNvSpPr txBox="1"/>
          <p:nvPr/>
        </p:nvSpPr>
        <p:spPr>
          <a:xfrm>
            <a:off x="6166150" y="3266441"/>
            <a:ext cx="1600000" cy="6734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aa-ET" sz="1000" b="1" dirty="0"/>
              <a:t>Trending</a:t>
            </a:r>
          </a:p>
          <a:p>
            <a:pPr>
              <a:lnSpc>
                <a:spcPct val="150000"/>
              </a:lnSpc>
            </a:pPr>
            <a:r>
              <a:rPr lang="aa-ET" sz="800" dirty="0"/>
              <a:t>Review patient information trending, draw conclusions and correlations</a:t>
            </a:r>
            <a:endParaRPr lang="aa-ET" sz="6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79BA943-6369-4BC6-A268-9FA07AB3D8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10231" y="2432751"/>
            <a:ext cx="1593600" cy="8964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5627542-7020-457A-9F9E-4A705D0CA8B9}"/>
              </a:ext>
            </a:extLst>
          </p:cNvPr>
          <p:cNvSpPr txBox="1"/>
          <p:nvPr/>
        </p:nvSpPr>
        <p:spPr>
          <a:xfrm>
            <a:off x="9819069" y="3266441"/>
            <a:ext cx="1591331" cy="6734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aa-ET" sz="1000" b="1" dirty="0"/>
              <a:t>Pathways</a:t>
            </a:r>
          </a:p>
          <a:p>
            <a:pPr>
              <a:lnSpc>
                <a:spcPct val="150000"/>
              </a:lnSpc>
            </a:pPr>
            <a:r>
              <a:rPr lang="aa-ET" sz="800" dirty="0"/>
              <a:t>Document patient diagnostics and treament progress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F5F43E7-BB99-4E3D-BE03-D43E94AAFF26}"/>
              </a:ext>
            </a:extLst>
          </p:cNvPr>
          <p:cNvSpPr txBox="1"/>
          <p:nvPr/>
        </p:nvSpPr>
        <p:spPr>
          <a:xfrm>
            <a:off x="759215" y="4146724"/>
            <a:ext cx="1600000" cy="29931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aa-ET" sz="1000" b="1" dirty="0"/>
              <a:t>Login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76575002-9C5B-4B1D-9126-3FCE81507B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9217" y="3241084"/>
            <a:ext cx="1600000" cy="900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1573236-93C6-4BF8-B07B-2E5F4A3FCC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02205" y="3245693"/>
            <a:ext cx="1600000" cy="900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91C6F7F-E325-4C10-B2CB-EE2C711AE1A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44492" y="2509461"/>
            <a:ext cx="713058" cy="713058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CFED678-8A00-4007-AC7E-9557E48D80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4377" y="4074245"/>
            <a:ext cx="1593600" cy="8964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7365673C-A578-4FE8-9B3E-874C38FBB3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0073" y="4091243"/>
            <a:ext cx="1600000" cy="900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148DE5C8-4713-4043-A076-9FA7D68D10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18022" y="4095696"/>
            <a:ext cx="1600000" cy="900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AE327161-BB05-4F78-8B1E-69C5C69654FF}"/>
              </a:ext>
            </a:extLst>
          </p:cNvPr>
          <p:cNvSpPr txBox="1"/>
          <p:nvPr/>
        </p:nvSpPr>
        <p:spPr>
          <a:xfrm>
            <a:off x="7817656" y="4535937"/>
            <a:ext cx="1600000" cy="48878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aa-ET" sz="1000" b="1" dirty="0"/>
              <a:t>Worklist</a:t>
            </a:r>
          </a:p>
          <a:p>
            <a:pPr>
              <a:lnSpc>
                <a:spcPct val="150000"/>
              </a:lnSpc>
            </a:pPr>
            <a:r>
              <a:rPr lang="aa-ET" sz="800" dirty="0"/>
              <a:t>Select patient from patient list</a:t>
            </a:r>
            <a:endParaRPr lang="aa-ET" sz="600" dirty="0"/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CFC9B847-2B99-4700-95EC-A697C22DF1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0834" y="4075603"/>
            <a:ext cx="1600000" cy="900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8CA28A54-BF90-4728-9597-DC44072EECC0}"/>
              </a:ext>
            </a:extLst>
          </p:cNvPr>
          <p:cNvSpPr txBox="1"/>
          <p:nvPr/>
        </p:nvSpPr>
        <p:spPr>
          <a:xfrm>
            <a:off x="9523617" y="4982865"/>
            <a:ext cx="1591331" cy="6734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aa-ET" sz="1000" b="1" dirty="0"/>
              <a:t>Viewing</a:t>
            </a:r>
          </a:p>
          <a:p>
            <a:pPr>
              <a:lnSpc>
                <a:spcPct val="150000"/>
              </a:lnSpc>
            </a:pPr>
            <a:r>
              <a:rPr lang="aa-ET" sz="800" dirty="0"/>
              <a:t>Depending on interest deep-dive into individual studies or read reports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7C8C8FF9-8CE2-4658-AC18-0F0DC65AF2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2054" y="4064513"/>
            <a:ext cx="1052663" cy="8964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F1C8C910-95BA-4BE0-88F8-39CA09A10DD6}"/>
              </a:ext>
            </a:extLst>
          </p:cNvPr>
          <p:cNvSpPr txBox="1"/>
          <p:nvPr/>
        </p:nvSpPr>
        <p:spPr>
          <a:xfrm>
            <a:off x="11207709" y="4635512"/>
            <a:ext cx="1051025" cy="8581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aa-ET" sz="1000" b="1" dirty="0"/>
              <a:t>Pathways</a:t>
            </a:r>
          </a:p>
          <a:p>
            <a:pPr>
              <a:lnSpc>
                <a:spcPct val="150000"/>
              </a:lnSpc>
            </a:pPr>
            <a:r>
              <a:rPr lang="aa-ET" sz="800" dirty="0"/>
              <a:t>Document patient diagnostics and treament progression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D2FD6CE-8AAB-4D1E-A2A4-5FF703C969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09191" y="4127220"/>
            <a:ext cx="713058" cy="713058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FAF6FE4-A91C-4C88-9FE5-DA9377C54899}"/>
              </a:ext>
            </a:extLst>
          </p:cNvPr>
          <p:cNvSpPr txBox="1"/>
          <p:nvPr/>
        </p:nvSpPr>
        <p:spPr>
          <a:xfrm>
            <a:off x="2625653" y="3730982"/>
            <a:ext cx="1600000" cy="48878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aa-ET" sz="1000" b="1" dirty="0"/>
              <a:t>Worklist</a:t>
            </a:r>
          </a:p>
          <a:p>
            <a:pPr>
              <a:lnSpc>
                <a:spcPct val="150000"/>
              </a:lnSpc>
            </a:pPr>
            <a:r>
              <a:rPr lang="aa-ET" sz="800" dirty="0"/>
              <a:t>Select patient from patient list</a:t>
            </a:r>
            <a:endParaRPr lang="aa-ET" sz="60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CF9B697-E570-4464-BE7A-00B0807F486A}"/>
              </a:ext>
            </a:extLst>
          </p:cNvPr>
          <p:cNvSpPr/>
          <p:nvPr/>
        </p:nvSpPr>
        <p:spPr>
          <a:xfrm>
            <a:off x="7620073" y="3939895"/>
            <a:ext cx="1780761" cy="1212435"/>
          </a:xfrm>
          <a:prstGeom prst="rect">
            <a:avLst/>
          </a:prstGeom>
          <a:noFill/>
          <a:ln w="571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6014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8" grpId="0"/>
      <p:bldP spid="19" grpId="0"/>
      <p:bldP spid="40" grpId="0"/>
      <p:bldP spid="43" grpId="0"/>
      <p:bldP spid="58" grpId="0"/>
      <p:bldP spid="20" grpId="0"/>
      <p:bldP spid="6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F1DEA5-8862-44FC-A83F-7B2CF55D7B4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87B825-6F43-42CF-B3D6-01AB8E169CD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F804A5-31AD-4628-91EB-FD38D6EB92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163908-529D-4A49-892F-D37C4044DFD8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4F5A90-21F9-4C77-AC98-C95DBE63F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9"/>
            <a:ext cx="10031916" cy="576083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ow it Works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72EC235-24B8-4EE1-8F05-7F5B333F0E8C}"/>
              </a:ext>
            </a:extLst>
          </p:cNvPr>
          <p:cNvSpPr txBox="1"/>
          <p:nvPr/>
        </p:nvSpPr>
        <p:spPr>
          <a:xfrm>
            <a:off x="242827" y="1084082"/>
            <a:ext cx="11196698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gorithm Implementation:</a:t>
            </a:r>
            <a:r>
              <a:rPr lang="en-US" sz="2400" dirty="0">
                <a:latin typeface="Calibri" panose="020F0502020204030204" pitchFamily="34" charset="0"/>
              </a:rPr>
              <a:t> </a:t>
            </a:r>
            <a:r>
              <a:rPr lang="en-US" sz="1800" i="1" dirty="0">
                <a:solidFill>
                  <a:schemeClr val="bg2">
                    <a:lumMod val="50000"/>
                  </a:schemeClr>
                </a:solidFill>
                <a:hlinkClick r:id="rId2"/>
              </a:rPr>
              <a:t>https://github.com/anuprshetty/UserInefficiencyTracker/blob/main/README.md</a:t>
            </a:r>
            <a:endParaRPr lang="en-US" sz="1800" i="1" dirty="0">
              <a:solidFill>
                <a:schemeClr val="bg2">
                  <a:lumMod val="50000"/>
                </a:schemeClr>
              </a:solidFill>
            </a:endParaRPr>
          </a:p>
          <a:p>
            <a:pPr marL="742950" marR="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u="sng" dirty="0">
                <a:latin typeface="Calibri" panose="020F0502020204030204" pitchFamily="34" charset="0"/>
              </a:rPr>
              <a:t>Industry Tools: 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ilebea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ELK, Kibana APIs and Python code.</a:t>
            </a:r>
          </a:p>
          <a:p>
            <a:pPr marL="742950" marR="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Algorithm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classify 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ll log entries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s belonging to the 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ame flow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nd draw general indications for the existence of a 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tter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</a:t>
            </a:r>
          </a:p>
          <a:p>
            <a:pPr marL="742950" marR="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ll the entries are performed by the 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ame user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nd within a 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imited time fram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</a:t>
            </a:r>
          </a:p>
          <a:p>
            <a:pPr marL="742950" marR="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maximal time frame for pattern identification can be given as a parameter to an automated application which will identify patterns in a system log. </a:t>
            </a:r>
          </a:p>
          <a:p>
            <a:pPr marL="742950" marR="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entries have at least 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ne parameter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hose value is fixed - 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varian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of the pattern. </a:t>
            </a:r>
          </a:p>
          <a:p>
            <a:pPr marL="742950" marR="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entries have at least 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ne param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er whose value is different for different entries - 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varian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t of the pattern. </a:t>
            </a:r>
          </a:p>
          <a:p>
            <a:pPr marL="45720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45720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</p:txBody>
      </p:sp>
      <p:pic>
        <p:nvPicPr>
          <p:cNvPr id="83972" name="Picture 4" descr="Monitoring On Aws With Filebeat - Circle - 1230x305 PNG Download - PNGkit">
            <a:extLst>
              <a:ext uri="{FF2B5EF4-FFF2-40B4-BE49-F238E27FC236}">
                <a16:creationId xmlns:a16="http://schemas.microsoft.com/office/drawing/2014/main" id="{10A009A8-E4AD-4B2E-985B-E696E30632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369" y="2591796"/>
            <a:ext cx="1824774" cy="687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976" name="Picture 8" descr="Elasticsearch: The Official Distributed Search &amp;amp; Analytics Engine | Elastic">
            <a:extLst>
              <a:ext uri="{FF2B5EF4-FFF2-40B4-BE49-F238E27FC236}">
                <a16:creationId xmlns:a16="http://schemas.microsoft.com/office/drawing/2014/main" id="{AAC6EDD5-4F79-4520-BFAA-BE03779999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143" y="2583305"/>
            <a:ext cx="2065420" cy="704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978" name="Picture 10" descr="Send API Testing Data to Elastic Kibana - API Fortress">
            <a:extLst>
              <a:ext uri="{FF2B5EF4-FFF2-40B4-BE49-F238E27FC236}">
                <a16:creationId xmlns:a16="http://schemas.microsoft.com/office/drawing/2014/main" id="{7F4A6FF5-98CC-4B54-A734-DA33C4ABCD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0404" y="2395520"/>
            <a:ext cx="1921543" cy="1080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980" name="Picture 12" descr="Announcing: Two Python courses in Tel Aviv — Reuven Lerner">
            <a:extLst>
              <a:ext uri="{FF2B5EF4-FFF2-40B4-BE49-F238E27FC236}">
                <a16:creationId xmlns:a16="http://schemas.microsoft.com/office/drawing/2014/main" id="{BD4A3EB2-02AE-472A-848D-3232D1470F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3976" y="2570140"/>
            <a:ext cx="2556759" cy="858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2828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F1DEA5-8862-44FC-A83F-7B2CF55D7B4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87B825-6F43-42CF-B3D6-01AB8E169CD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F804A5-31AD-4628-91EB-FD38D6EB92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163908-529D-4A49-892F-D37C4044DFD8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4F5A90-21F9-4C77-AC98-C95DBE63F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9"/>
            <a:ext cx="10031916" cy="576083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ow it Works? – Deep Div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72EC235-24B8-4EE1-8F05-7F5B333F0E8C}"/>
              </a:ext>
            </a:extLst>
          </p:cNvPr>
          <p:cNvSpPr txBox="1"/>
          <p:nvPr/>
        </p:nvSpPr>
        <p:spPr>
          <a:xfrm>
            <a:off x="673102" y="1084082"/>
            <a:ext cx="11160121" cy="55893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>
              <a:spcBef>
                <a:spcPts val="0"/>
              </a:spcBef>
              <a:spcAft>
                <a:spcPts val="0"/>
              </a:spcAft>
            </a:pPr>
            <a:r>
              <a:rPr lang="en-US" sz="18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andatory log trace components: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ser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– A field in the log entry that indicates who made the commit of the event .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imestamp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– The time the log entry was committed. 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peration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– The type of activity (transaction) that was performed. 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perand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– In a log file entry an operand is a pointer to an object or a pointer to a parameter value of the function 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 b="1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imeFrame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– Delta of timestamps that are used to set pattern start and end entry. </a:t>
            </a:r>
            <a:b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imeFrame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[(end entry).timestamp - (start entry).timestamp]</a:t>
            </a:r>
          </a:p>
          <a:p>
            <a:pPr marL="457200" marR="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or defining a pattern, we rely on the following assumption:  </a:t>
            </a: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ach log file entry has all the needed operands to perform the event transaction.</a:t>
            </a:r>
          </a:p>
          <a:p>
            <a:pPr marL="457200" marR="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algorithm verifies that the entries have the same user and fall within the predetermined timeframe. </a:t>
            </a:r>
          </a:p>
          <a:p>
            <a:pPr marL="457200" marR="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oes through their operations and list of operands, compares their values, and classifies them as variant or invariant. </a:t>
            </a:r>
          </a:p>
          <a:p>
            <a:pPr marL="457200" marR="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f there is at least one variant and at least one invariant, the algorithm returns the pattern (specified as a combined entry). </a:t>
            </a:r>
          </a:p>
          <a:p>
            <a:pPr marL="457200" marR="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ntries that were recognized as patterns will be considered as a single entry for the next iteration of recurrence. </a:t>
            </a:r>
          </a:p>
        </p:txBody>
      </p:sp>
    </p:spTree>
    <p:extLst>
      <p:ext uri="{BB962C8B-B14F-4D97-AF65-F5344CB8AC3E}">
        <p14:creationId xmlns:p14="http://schemas.microsoft.com/office/powerpoint/2010/main" val="23280489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F1DEA5-8862-44FC-A83F-7B2CF55D7B4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87B825-6F43-42CF-B3D6-01AB8E169CD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F804A5-31AD-4628-91EB-FD38D6EB92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163908-529D-4A49-892F-D37C4044DFD8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C0CA18-9DFA-41B3-9727-3443A0FEAA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2" y="1251344"/>
            <a:ext cx="11518898" cy="4614333"/>
          </a:xfrm>
        </p:spPr>
        <p:txBody>
          <a:bodyPr vert="horz" lIns="0" tIns="0" rIns="0" bIns="0" spcCol="324000" rtlCol="0" anchor="t">
            <a:noAutofit/>
          </a:bodyPr>
          <a:lstStyle/>
          <a:p>
            <a:pPr marL="215265" indent="-215265">
              <a:lnSpc>
                <a:spcPct val="150000"/>
              </a:lnSpc>
            </a:pPr>
            <a:r>
              <a:rPr lang="en-US" sz="2400" dirty="0">
                <a:latin typeface="Calibri" panose="020F0502020204030204" pitchFamily="34" charset="0"/>
              </a:rPr>
              <a:t>Major reduction of user action duration by increasing user efficiency.</a:t>
            </a:r>
            <a:endParaRPr lang="en-US"/>
          </a:p>
          <a:p>
            <a:pPr marL="215265" indent="-215265">
              <a:lnSpc>
                <a:spcPct val="150000"/>
              </a:lnSpc>
            </a:pPr>
            <a:r>
              <a:rPr lang="en-US" sz="2400" dirty="0">
                <a:latin typeface="Calibri" panose="020F0502020204030204" pitchFamily="34" charset="0"/>
              </a:rPr>
              <a:t>Cost reduction by improve of the system from usability perspective.</a:t>
            </a: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15265" indent="-215265">
              <a:lnSpc>
                <a:spcPct val="150000"/>
              </a:lnSpc>
            </a:pPr>
            <a:r>
              <a:rPr lang="en-US" sz="2400" dirty="0">
                <a:latin typeface="Calibri"/>
                <a:cs typeface="Calibri"/>
              </a:rPr>
              <a:t>Objective identification for “real” needs of the customer – efficient prioritization of new features.</a:t>
            </a:r>
            <a:br>
              <a:rPr lang="en-US" sz="2400" dirty="0">
                <a:latin typeface="Calibri"/>
                <a:cs typeface="Calibri"/>
              </a:rPr>
            </a:br>
            <a:endParaRPr lang="en-US" sz="2400">
              <a:latin typeface="Calibri"/>
              <a:cs typeface="Calibri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4800">
                <a:solidFill>
                  <a:schemeClr val="accent1"/>
                </a:solidFill>
                <a:latin typeface="Calibri"/>
                <a:cs typeface="Calibri"/>
              </a:rPr>
              <a:t>Demo 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24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4F5A90-21F9-4C77-AC98-C95DBE63F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9"/>
            <a:ext cx="10031916" cy="576083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he Value/Benefits</a:t>
            </a:r>
          </a:p>
        </p:txBody>
      </p:sp>
      <p:pic>
        <p:nvPicPr>
          <p:cNvPr id="7" name="Picture 7" descr="Text&#10;&#10;Description automatically generated">
            <a:extLst>
              <a:ext uri="{FF2B5EF4-FFF2-40B4-BE49-F238E27FC236}">
                <a16:creationId xmlns:a16="http://schemas.microsoft.com/office/drawing/2014/main" id="{498AE85F-CC73-4DF7-85B4-5E4C32024F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0950" y="2977753"/>
            <a:ext cx="5686815" cy="3548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4241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F1DEA5-8862-44FC-A83F-7B2CF55D7B4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87B825-6F43-42CF-B3D6-01AB8E169CD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F804A5-31AD-4628-91EB-FD38D6EB92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163908-529D-4A49-892F-D37C4044DFD8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C0CA18-9DFA-41B3-9727-3443A0FEAA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2" y="1251344"/>
            <a:ext cx="11322382" cy="4614333"/>
          </a:xfrm>
        </p:spPr>
        <p:txBody>
          <a:bodyPr vert="horz" lIns="0" tIns="0" rIns="0" bIns="0" spcCol="324000" rtlCol="0" anchor="t">
            <a:noAutofit/>
          </a:bodyPr>
          <a:lstStyle/>
          <a:p>
            <a:pPr marL="215265" indent="-215265">
              <a:lnSpc>
                <a:spcPct val="150000"/>
              </a:lnSpc>
            </a:pPr>
            <a:r>
              <a:rPr lang="en-US" sz="2400">
                <a:latin typeface="Calibri"/>
                <a:cs typeface="Calibri"/>
              </a:rPr>
              <a:t>Definition of commonality for logs pattern and structure across all </a:t>
            </a:r>
            <a:r>
              <a:rPr lang="en-US" sz="2400" dirty="0">
                <a:latin typeface="Calibri"/>
                <a:cs typeface="Calibri"/>
              </a:rPr>
              <a:t>components/application/propositions of the HDS platform.</a:t>
            </a:r>
            <a:endParaRPr lang="en-US">
              <a:latin typeface="Calibri"/>
              <a:cs typeface="Calibri"/>
            </a:endParaRPr>
          </a:p>
          <a:p>
            <a:pPr marL="215265" indent="-215265">
              <a:lnSpc>
                <a:spcPct val="150000"/>
              </a:lnSpc>
            </a:pPr>
            <a:r>
              <a:rPr lang="en-US" sz="2400" dirty="0">
                <a:latin typeface="Calibri" panose="020F0502020204030204" pitchFamily="34" charset="0"/>
              </a:rPr>
              <a:t>Implementation of the suggested algorithm on Case Studies for known process / workflows.</a:t>
            </a: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15265" indent="-215265">
              <a:lnSpc>
                <a:spcPct val="150000"/>
              </a:lnSpc>
            </a:pPr>
            <a:r>
              <a:rPr lang="en-US" sz="2400" dirty="0">
                <a:latin typeface="Calibri" panose="020F0502020204030204" pitchFamily="34" charset="0"/>
              </a:rPr>
              <a:t>Definition of new HDS Tool / ELK Capability and develop Hint support on applications UI with UX team.</a:t>
            </a: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15265" indent="-215265">
              <a:lnSpc>
                <a:spcPct val="150000"/>
              </a:lnSpc>
            </a:pPr>
            <a:r>
              <a:rPr lang="en-US" sz="2400" dirty="0">
                <a:latin typeface="Calibri" panose="020F0502020204030204" pitchFamily="34" charset="0"/>
              </a:rPr>
              <a:t>Patent the algorithm.</a:t>
            </a: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4F5A90-21F9-4C77-AC98-C95DBE63F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9"/>
            <a:ext cx="10031916" cy="576083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he Next Steps</a:t>
            </a:r>
          </a:p>
        </p:txBody>
      </p:sp>
    </p:spTree>
    <p:extLst>
      <p:ext uri="{BB962C8B-B14F-4D97-AF65-F5344CB8AC3E}">
        <p14:creationId xmlns:p14="http://schemas.microsoft.com/office/powerpoint/2010/main" val="22897012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F1DEA5-8862-44FC-A83F-7B2CF55D7B4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87B825-6F43-42CF-B3D6-01AB8E169CD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9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F804A5-31AD-4628-91EB-FD38D6EB92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163908-529D-4A49-892F-D37C4044DFD8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C0CA18-9DFA-41B3-9727-3443A0FEAA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2" y="1251344"/>
            <a:ext cx="10095513" cy="4614333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en-US" sz="2400" i="1" dirty="0">
                <a:solidFill>
                  <a:schemeClr val="bg2">
                    <a:lumMod val="50000"/>
                  </a:schemeClr>
                </a:solidFill>
              </a:rPr>
              <a:t>Solution pitch deck</a:t>
            </a:r>
          </a:p>
          <a:p>
            <a:pPr marL="457200" indent="-457200">
              <a:buAutoNum type="arabicPeriod"/>
            </a:pPr>
            <a:r>
              <a:rPr lang="en-US" sz="2400" i="1" dirty="0">
                <a:solidFill>
                  <a:schemeClr val="bg2">
                    <a:lumMod val="50000"/>
                  </a:schemeClr>
                </a:solidFill>
              </a:rPr>
              <a:t>Recorded demo.</a:t>
            </a:r>
          </a:p>
          <a:p>
            <a:pPr marL="0" indent="0">
              <a:buNone/>
            </a:pPr>
            <a:endParaRPr lang="en-US" sz="2400" i="1" dirty="0">
              <a:solidFill>
                <a:schemeClr val="bg2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2000" i="1" dirty="0">
                <a:solidFill>
                  <a:schemeClr val="bg2">
                    <a:lumMod val="50000"/>
                  </a:schemeClr>
                </a:solidFill>
              </a:rPr>
              <a:t>Demo day show case on &lt;Date to be finalized&gt;</a:t>
            </a:r>
            <a:endParaRPr lang="en-US" sz="2000" b="1" i="1" dirty="0">
              <a:solidFill>
                <a:schemeClr val="bg2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sz="2000" b="1" i="1" dirty="0">
              <a:solidFill>
                <a:schemeClr val="bg2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sz="2000" b="1" i="1" dirty="0">
              <a:solidFill>
                <a:schemeClr val="bg2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sz="2000" i="1" dirty="0">
              <a:solidFill>
                <a:schemeClr val="bg2">
                  <a:lumMod val="50000"/>
                </a:schemeClr>
              </a:solidFill>
            </a:endParaRPr>
          </a:p>
          <a:p>
            <a:endParaRPr lang="en-US" sz="24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4F5A90-21F9-4C77-AC98-C95DBE63F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9"/>
            <a:ext cx="10031916" cy="576083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eliverables on the demo Day.</a:t>
            </a:r>
          </a:p>
        </p:txBody>
      </p:sp>
      <p:pic>
        <p:nvPicPr>
          <p:cNvPr id="55298" name="Picture 4">
            <a:extLst>
              <a:ext uri="{FF2B5EF4-FFF2-40B4-BE49-F238E27FC236}">
                <a16:creationId xmlns:a16="http://schemas.microsoft.com/office/drawing/2014/main" id="{D35A9F3B-C4D1-4F58-AE8B-1FDA0C6F0C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6559" y="3065228"/>
            <a:ext cx="6660736" cy="3700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7389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atYagSyKSJhzbVoC0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mNO_54Sa2hlaXD_IEj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hZ.6C_Tu2XwAo0QYSkJ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hZnkiSTuqlYXlI_XspM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vyvM2iRHaxZ5i4g7GA.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4VFSuEQQups0ulDuF19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0pDCr0Q2Wp2L0wENceh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c97NhnRtGIQipb0wENx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q1yE6hRTGv_ga4GbII8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.LJhckSGCxmH17d0fWV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3EePDZRDCiGs6qA7F.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presentation_template_16x9_nov18">
  <a:themeElements>
    <a:clrScheme name="Philip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66A1"/>
      </a:accent1>
      <a:accent2>
        <a:srgbClr val="1E9D8B"/>
      </a:accent2>
      <a:accent3>
        <a:srgbClr val="5B8F22"/>
      </a:accent3>
      <a:accent4>
        <a:srgbClr val="E98300"/>
      </a:accent4>
      <a:accent5>
        <a:srgbClr val="EC4371"/>
      </a:accent5>
      <a:accent6>
        <a:srgbClr val="9E2DB1"/>
      </a:accent6>
      <a:hlink>
        <a:srgbClr val="0089C4"/>
      </a:hlink>
      <a:folHlink>
        <a:srgbClr val="631D76"/>
      </a:folHlink>
    </a:clrScheme>
    <a:fontScheme name="Philips_New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presentation_template_16x9_nov18_1112.pptx" id="{BEC723CF-679C-4F78-8FDC-5F75600573FC}" vid="{82C35204-7926-405E-85BB-7292904EC94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f742114-62a9-45b6-8835-11e8ee9e3ef2">
      <UserInfo>
        <DisplayName>Rathnakara Shetty, Anup Shetty</DisplayName>
        <AccountId>130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653AB144FD12459CB32CB533DC5481" ma:contentTypeVersion="14" ma:contentTypeDescription="Create a new document." ma:contentTypeScope="" ma:versionID="dae222aed75895936e332fd0b4da899b">
  <xsd:schema xmlns:xsd="http://www.w3.org/2001/XMLSchema" xmlns:xs="http://www.w3.org/2001/XMLSchema" xmlns:p="http://schemas.microsoft.com/office/2006/metadata/properties" xmlns:ns2="c829730c-7951-4d26-bc0f-0419c5104535" xmlns:ns3="cf742114-62a9-45b6-8835-11e8ee9e3ef2" targetNamespace="http://schemas.microsoft.com/office/2006/metadata/properties" ma:root="true" ma:fieldsID="ff3028a43863293850d9ddd31016e4df" ns2:_="" ns3:_="">
    <xsd:import namespace="c829730c-7951-4d26-bc0f-0419c5104535"/>
    <xsd:import namespace="cf742114-62a9-45b6-8835-11e8ee9e3e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29730c-7951-4d26-bc0f-0419c510453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742114-62a9-45b6-8835-11e8ee9e3ef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e40374fb-a6cc-4854-989f-c1d94a7967ee" ContentTypeId="0x01" PreviousValue="false"/>
</file>

<file path=customXml/item5.xml><?xml version="1.0" encoding="utf-8"?>
<TemplafySlideTemplateConfiguration><![CDATA[{"slideVersion":1,"isValidatorEnabled":false,"isLocked":false,"elementsMetadata":[],"slideId":"637607406585129740","enableDocumentContentUpdater":false,"version":"2.0"}]]></TemplafySlideTemplateConfiguration>
</file>

<file path=customXml/item6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5F9EC7FC-7195-4F8C-A296-94598D2C66E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9EE7BE7-8965-44A4-904F-1FFEC1086CD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68BFA72-ABD9-4FAA-9A81-B47F9C6E5B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29730c-7951-4d26-bc0f-0419c5104535"/>
    <ds:schemaRef ds:uri="cf742114-62a9-45b6-8835-11e8ee9e3e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19194DC8-5C74-4CC3-9401-8FA202C463ED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BE8F7476-1E2C-4CEC-9522-DCA995947BCF}">
  <ds:schemaRefs/>
</ds:datastoreItem>
</file>

<file path=customXml/itemProps6.xml><?xml version="1.0" encoding="utf-8"?>
<ds:datastoreItem xmlns:ds="http://schemas.openxmlformats.org/officeDocument/2006/customXml" ds:itemID="{7DBC6602-1769-4C9F-A8F2-CDCB7B91A8E2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30</Words>
  <Application>Microsoft Office PowerPoint</Application>
  <PresentationFormat>Widescreen</PresentationFormat>
  <Paragraphs>101</Paragraphs>
  <Slides>10</Slides>
  <Notes>1</Notes>
  <HiddenSlides>1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5_presentation_template_16x9_nov18</vt:lpstr>
      <vt:lpstr>PowerPoint Presentation</vt:lpstr>
      <vt:lpstr>The Team</vt:lpstr>
      <vt:lpstr>The Problem</vt:lpstr>
      <vt:lpstr>The Solution</vt:lpstr>
      <vt:lpstr>How it Works?</vt:lpstr>
      <vt:lpstr>How it Works? – Deep Dive</vt:lpstr>
      <vt:lpstr>The Value/Benefits</vt:lpstr>
      <vt:lpstr>The Next Steps</vt:lpstr>
      <vt:lpstr>Deliverables on the demo Day.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ir, Yinon</dc:creator>
  <cp:lastModifiedBy>Kaplan, Dolev</cp:lastModifiedBy>
  <cp:revision>46</cp:revision>
  <dcterms:created xsi:type="dcterms:W3CDTF">2021-03-05T10:58:09Z</dcterms:created>
  <dcterms:modified xsi:type="dcterms:W3CDTF">2021-12-06T08:20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653AB144FD12459CB32CB533DC5481</vt:lpwstr>
  </property>
</Properties>
</file>